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modernComment_7FFFFFAD_F2725AF4.xml" ContentType="application/vnd.ms-powerpoint.comments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9" r:id="rId4"/>
    <p:sldMasterId id="2147483767" r:id="rId5"/>
    <p:sldMasterId id="2147483660" r:id="rId6"/>
    <p:sldMasterId id="2147483691" r:id="rId7"/>
  </p:sldMasterIdLst>
  <p:notesMasterIdLst>
    <p:notesMasterId r:id="rId15"/>
  </p:notesMasterIdLst>
  <p:sldIdLst>
    <p:sldId id="256" r:id="rId8"/>
    <p:sldId id="2147483563" r:id="rId9"/>
    <p:sldId id="2147483564" r:id="rId10"/>
    <p:sldId id="2147483565" r:id="rId11"/>
    <p:sldId id="2147482827" r:id="rId12"/>
    <p:sldId id="2147483566" r:id="rId13"/>
    <p:sldId id="2147480514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9FEC893C-FACA-4A18-9F5F-3FC4E86ECEB2}">
          <p14:sldIdLst>
            <p14:sldId id="256"/>
            <p14:sldId id="2147483563"/>
            <p14:sldId id="2147483564"/>
            <p14:sldId id="2147483565"/>
            <p14:sldId id="2147482827"/>
            <p14:sldId id="2147483566"/>
            <p14:sldId id="2147480514"/>
          </p14:sldIdLst>
        </p14:section>
        <p14:section name="OLDER VERSION" id="{158DF2F4-532A-4DBC-B8F1-137261441E55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672">
          <p15:clr>
            <a:srgbClr val="A4A3A4"/>
          </p15:clr>
        </p15:guide>
        <p15:guide id="2" pos="600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6A3CE02-CC6E-2A05-3DC5-8836BA5804D4}" name="Stefanie Johns" initials="SJ" userId="S::sjohns@cellphire.com::6f4b4e39-420e-4edd-a513-851ca9ea373e" providerId="AD"/>
  <p188:author id="{12D05016-C64B-D8E3-36E7-D271F514C296}" name="Damien Bates" initials="DB" userId="S::dbates@cellphire.com::84b5db59-8e22-47f6-8e95-717f8f95f0b8" providerId="AD"/>
  <p188:author id="{D342BF5B-22C0-598D-A02F-22C1EE07CBF7}" name="Ben Kuhn" initials="BK" userId="S::bkuhn@cellphire.com::ec3f1de7-3d9c-4e91-8032-de3b913043de" providerId="AD"/>
  <p188:author id="{4B7B6A7A-52F3-2E27-B851-9C6D65B9127D}" name="Isabel Lauren Jackson" initials="ILJ" userId="Isabel Lauren Jackson" providerId="None"/>
  <p188:author id="{208C2CD0-90E0-7846-4663-4D3CF8574538}" name="Joseph Rappold" initials="JR" userId="S::jrappold@cellphire.com::bd76743d-0cb1-4ea6-b724-7d4d89363d0a" providerId="AD"/>
  <p188:author id="{71177CDB-3E6F-2813-5B2A-3525CFCEBF04}" name="Shireen Bate" initials="SB" userId="S::sbate@cellphire.com::7ffdd961-8dda-4d84-a661-1bc63b7026b3" providerId="AD"/>
  <p188:author id="{903199E3-E9E5-C096-03E4-ED814B8B9AB8}" name="Mike Fitzpatrick" initials="MF" userId="S::mfitzpatrick@cellphire.com::dfc3042d-e81a-4b67-9538-aea814efc80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934"/>
    <a:srgbClr val="3A46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D0A3223-4FBE-36EC-C0C4-E6825B8E3CEE}" v="25" dt="2026-02-17T19:02:12.933"/>
    <p1510:client id="{44F2B7AF-63E3-9287-6442-509040DD7681}" v="5" dt="2026-02-17T19:00:59.11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512" y="52"/>
      </p:cViewPr>
      <p:guideLst>
        <p:guide orient="horz" pos="672"/>
        <p:guide pos="600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/Relationships>
</file>

<file path=ppt/comments/modernComment_7FFFFFAD_F2725AF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626A6BFB-2C2E-4B97-82B9-1A48940C796E}" authorId="{D342BF5B-22C0-598D-A02F-22C1EE07CBF7}" created="2025-11-13T16:41:31.218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4067580660" sldId="2147483565"/>
      <ac:spMk id="6" creationId="{2882CBEC-1875-74FB-76F7-AB0D3DE8ED6D}"/>
      <ac:txMk cp="0" len="19">
        <ac:context len="20" hash="1466198869"/>
      </ac:txMk>
    </ac:txMkLst>
    <p188:pos x="3508236" y="175816"/>
    <p188:replyLst>
      <p188:reply id="{FDF2C6D7-6E70-48E7-935C-595A9081616D}" authorId="{903199E3-E9E5-C096-03E4-ED814B8B9AB8}" created="2025-11-14T15:08:12.367">
        <p188:txBody>
          <a:bodyPr/>
          <a:lstStyle/>
          <a:p>
            <a:r>
              <a:rPr lang="en-US"/>
              <a:t>Known surface receptors in 511 perform as activated platelets</a:t>
            </a:r>
          </a:p>
        </p188:txBody>
      </p188:reply>
      <p188:reply id="{306604E4-0BEB-405D-A160-FFCCCBFB7046}" authorId="{903199E3-E9E5-C096-03E4-ED814B8B9AB8}" created="2025-11-15T03:37:16.107">
        <p188:txBody>
          <a:bodyPr/>
          <a:lstStyle/>
          <a:p>
            <a:r>
              <a:rPr lang="en-US"/>
              <a:t>[@Ben Kuhn] please review changes</a:t>
            </a:r>
          </a:p>
        </p188:txBody>
      </p188:reply>
    </p188:replyLst>
    <p188:txBody>
      <a:bodyPr/>
      <a:lstStyle/>
      <a:p>
        <a:r>
          <a:rPr lang="en-US"/>
          <a:t>Alternate slide option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500BB2-C770-46C8-9293-88C9267196FE}" type="datetimeFigureOut">
              <a:rPr lang="en-US" smtClean="0"/>
              <a:t>2/19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E951AE-42F5-4FCD-AEA2-C941778A9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75065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americasblood.org/abc-newsletter/2023-nbcus-data-findings/?utm_source=chatgpt.com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onlinelibrary.wiley.com/doi/full/10.1111/trf.16561" TargetMode="External"/><Relationship Id="rId5" Type="http://schemas.openxmlformats.org/officeDocument/2006/relationships/hyperlink" Target="https://transfusionnews.com/2021/08/03/u-s-national-platelet-inventory-and-transfusion-practice-survey/?utm_source=chatgpt.com" TargetMode="External"/><Relationship Id="rId4" Type="http://schemas.openxmlformats.org/officeDocument/2006/relationships/hyperlink" Target="https://www.uab.edu/news/research-innovation/research-shows-u-s-ability-to-treat-patients-who-require-blood-on-any-given-day-in-peril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AutoNum type="arabicPeriod"/>
            </a:pPr>
            <a:r>
              <a:rPr lang="en-US">
                <a:solidFill>
                  <a:schemeClr val="tx2"/>
                </a:solidFill>
              </a:rPr>
              <a:t>Source: NEJM - Riley, et al, “Ensuring a Reliable Platelet Supply in the United States.” New England Journal of Medicine. 2023, </a:t>
            </a:r>
            <a:r>
              <a:rPr lang="en-US" err="1">
                <a:solidFill>
                  <a:schemeClr val="tx2"/>
                </a:solidFill>
              </a:rPr>
              <a:t>Gehrie</a:t>
            </a:r>
            <a:r>
              <a:rPr lang="en-US">
                <a:solidFill>
                  <a:schemeClr val="tx2"/>
                </a:solidFill>
              </a:rPr>
              <a:t>, et </a:t>
            </a:r>
            <a:r>
              <a:rPr lang="en-US" err="1">
                <a:solidFill>
                  <a:schemeClr val="tx2"/>
                </a:solidFill>
              </a:rPr>
              <a:t>al,“Addressing</a:t>
            </a:r>
            <a:r>
              <a:rPr lang="en-US">
                <a:solidFill>
                  <a:schemeClr val="tx2"/>
                </a:solidFill>
              </a:rPr>
              <a:t> platelet insecurity – A national call to action” Transfusion 2024, 64: 2001-2013.; Fox 13 News, Florida; US Dept HHS, Adequacy of </a:t>
            </a:r>
            <a:r>
              <a:rPr lang="en-US" err="1">
                <a:solidFill>
                  <a:schemeClr val="tx2"/>
                </a:solidFill>
              </a:rPr>
              <a:t>theNational</a:t>
            </a:r>
            <a:r>
              <a:rPr lang="en-US">
                <a:solidFill>
                  <a:schemeClr val="tx2"/>
                </a:solidFill>
              </a:rPr>
              <a:t> Blood Supply, 2020</a:t>
            </a:r>
          </a:p>
          <a:p>
            <a:pPr marL="342900" indent="-342900">
              <a:buAutoNum type="arabicPeriod"/>
            </a:pPr>
            <a:r>
              <a:rPr lang="en-US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NBCUS- </a:t>
            </a:r>
            <a:r>
              <a:rPr lang="en-US">
                <a:solidFill>
                  <a:srgbClr val="000000"/>
                </a:solidFill>
                <a:hlinkClick r:id="rId3"/>
              </a:rPr>
              <a:t>2023 NBCUS Data Findings on Blood Collection &amp; Donation Trends</a:t>
            </a:r>
            <a:endParaRPr lang="en-US"/>
          </a:p>
          <a:p>
            <a:pPr marL="342900" indent="-342900">
              <a:buAutoNum type="arabicPeriod"/>
            </a:pPr>
            <a:r>
              <a:rPr lang="en-US">
                <a:solidFill>
                  <a:srgbClr val="000000"/>
                </a:solidFill>
                <a:ea typeface="Calibri"/>
                <a:cs typeface="Calibri"/>
              </a:rPr>
              <a:t>33% hospital </a:t>
            </a:r>
            <a:r>
              <a:rPr lang="en-US">
                <a:solidFill>
                  <a:srgbClr val="000000"/>
                </a:solidFill>
                <a:hlinkClick r:id="rId4"/>
              </a:rPr>
              <a:t>Research shows U.S. ability to treat patients who require blood on any given day in peril | UAB News</a:t>
            </a:r>
            <a:r>
              <a:rPr lang="en-US">
                <a:solidFill>
                  <a:srgbClr val="000000"/>
                </a:solidFill>
                <a:ea typeface="Calibri"/>
              </a:rPr>
              <a:t> "</a:t>
            </a:r>
            <a:r>
              <a:rPr lang="en-US">
                <a:solidFill>
                  <a:srgbClr val="212529"/>
                </a:solidFill>
                <a:highlight>
                  <a:srgbClr val="FFFFFF"/>
                </a:highlight>
              </a:rPr>
              <a:t>Meanwhile, 33 percent of hospitals themselves that received blood components from the American Red Cross in 2019 did not routinely have platelets ready to transfuse to bleeding patients."</a:t>
            </a:r>
            <a:endParaRPr lang="en-US">
              <a:solidFill>
                <a:srgbClr val="000000"/>
              </a:solidFill>
              <a:ea typeface="Calibri"/>
              <a:cs typeface="Calibri"/>
            </a:endParaRPr>
          </a:p>
          <a:p>
            <a:pPr marL="342900" indent="-342900">
              <a:buAutoNum type="arabicPeriod"/>
            </a:pPr>
            <a:r>
              <a:rPr lang="en-US">
                <a:solidFill>
                  <a:srgbClr val="212529"/>
                </a:solidFill>
                <a:highlight>
                  <a:srgbClr val="FFFFFF"/>
                </a:highlight>
                <a:ea typeface="Calibri"/>
                <a:cs typeface="Calibri"/>
              </a:rPr>
              <a:t>Delayed surgeries </a:t>
            </a:r>
            <a:r>
              <a:rPr lang="en-US">
                <a:solidFill>
                  <a:srgbClr val="212529"/>
                </a:solidFill>
                <a:highlight>
                  <a:srgbClr val="FFFFFF"/>
                </a:highlight>
                <a:hlinkClick r:id="rId5"/>
              </a:rPr>
              <a:t>U.S. National Platelet Inventory and Transfusion Practice Survey - Transfusion News</a:t>
            </a:r>
            <a:endParaRPr lang="en-US">
              <a:solidFill>
                <a:srgbClr val="212529"/>
              </a:solidFill>
              <a:highlight>
                <a:srgbClr val="FFFFFF"/>
              </a:highlight>
              <a:ea typeface="Calibri"/>
              <a:cs typeface="Calibri"/>
            </a:endParaRPr>
          </a:p>
          <a:p>
            <a:pPr marL="342900" indent="-342900">
              <a:buAutoNum type="arabicPeriod"/>
            </a:pPr>
            <a:r>
              <a:rPr lang="en-US" b="1">
                <a:solidFill>
                  <a:srgbClr val="1979D6"/>
                </a:solidFill>
                <a:highlight>
                  <a:srgbClr val="FFFFFF"/>
                </a:highlight>
                <a:hlinkClick r:id="rId6"/>
              </a:rPr>
              <a:t>Pandey S, </a:t>
            </a:r>
            <a:r>
              <a:rPr lang="en-US" b="1" err="1">
                <a:solidFill>
                  <a:srgbClr val="1979D6"/>
                </a:solidFill>
                <a:highlight>
                  <a:srgbClr val="FFFFFF"/>
                </a:highlight>
                <a:hlinkClick r:id="rId6"/>
              </a:rPr>
              <a:t>Gelanger</a:t>
            </a:r>
            <a:r>
              <a:rPr lang="en-US" b="1">
                <a:solidFill>
                  <a:srgbClr val="1979D6"/>
                </a:solidFill>
                <a:highlight>
                  <a:srgbClr val="FFFFFF"/>
                </a:highlight>
                <a:hlinkClick r:id="rId6"/>
              </a:rPr>
              <a:t> GA, Rajbhandary, Cohn CS, et al.  A survey of US hospitals on platelet inventory management, transfusion practice, and platelet availability.  Transfusion 2021</a:t>
            </a:r>
            <a:endParaRPr lang="en-US" b="1">
              <a:solidFill>
                <a:srgbClr val="1979D6"/>
              </a:solidFill>
              <a:highlight>
                <a:srgbClr val="FFFFFF"/>
              </a:highlight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>
                <a:solidFill>
                  <a:srgbClr val="000000"/>
                </a:solidFill>
              </a:rPr>
              <a:t>Doughty H, Green L, Callum J, Murphy MF; National Blood Transfusion Committee. Triage tool for the rationing of blood for massively bleeding patients during a severe national blood shortage: guidance from the National Blood Transfusion Committee. </a:t>
            </a:r>
            <a:r>
              <a:rPr lang="en-US" i="1">
                <a:solidFill>
                  <a:srgbClr val="000000"/>
                </a:solidFill>
              </a:rPr>
              <a:t>Br J </a:t>
            </a:r>
            <a:r>
              <a:rPr lang="en-US" i="1" err="1">
                <a:solidFill>
                  <a:srgbClr val="000000"/>
                </a:solidFill>
              </a:rPr>
              <a:t>Haematol</a:t>
            </a:r>
            <a:r>
              <a:rPr lang="en-US">
                <a:solidFill>
                  <a:srgbClr val="000000"/>
                </a:solidFill>
              </a:rPr>
              <a:t>. 2020;191(3):340-346. doi:10.1111/bjh.16736</a:t>
            </a:r>
          </a:p>
          <a:p>
            <a:endParaRPr lang="en-US">
              <a:solidFill>
                <a:srgbClr val="212529"/>
              </a:solidFill>
              <a:highlight>
                <a:srgbClr val="FFFFFF"/>
              </a:highlight>
              <a:latin typeface="Aptos"/>
              <a:ea typeface="Calibri"/>
              <a:cs typeface="Calibri"/>
            </a:endParaRPr>
          </a:p>
          <a:p>
            <a:endParaRPr lang="en-US">
              <a:solidFill>
                <a:srgbClr val="212529"/>
              </a:solidFill>
              <a:highlight>
                <a:srgbClr val="FFFFFF"/>
              </a:highlight>
              <a:latin typeface="Aptos"/>
              <a:ea typeface="Calibri"/>
              <a:cs typeface="Calibri"/>
            </a:endParaRPr>
          </a:p>
          <a:p>
            <a:endParaRPr lang="en-US">
              <a:latin typeface="Aptos"/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E951AE-42F5-4FCD-AEA2-C941778A998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38870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275CC7-06F5-2119-71E2-E0ED57B0FF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4D00E37-80BC-D539-A1FF-87ABFBF10E1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90D0C9-99D4-8D67-4170-E466F593BFD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AF19F5-A703-87C4-91DF-38497A83E6E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7FD196-97CF-48B0-8048-EB44A7B9A49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9814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FDDC62B-FB94-4BF5-8DF7-566A865EEEF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69130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5" Type="http://schemas.openxmlformats.org/officeDocument/2006/relationships/image" Target="../media/image19.emf"/><Relationship Id="rId4" Type="http://schemas.openxmlformats.org/officeDocument/2006/relationships/image" Target="../media/image18.emf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40C019-6DBF-AF1A-F913-0DA38064E9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59294" y="365125"/>
            <a:ext cx="6094506" cy="2898028"/>
          </a:xfrm>
        </p:spPr>
        <p:txBody>
          <a:bodyPr>
            <a:normAutofit/>
          </a:bodyPr>
          <a:lstStyle>
            <a:lvl1pPr algn="ctr">
              <a:defRPr sz="8000" b="1">
                <a:solidFill>
                  <a:schemeClr val="bg1"/>
                </a:solidFill>
                <a:latin typeface="Acumin Pro" panose="020B0504020202020204" pitchFamily="34" charset="0"/>
              </a:defRPr>
            </a:lvl1pPr>
          </a:lstStyle>
          <a:p>
            <a:r>
              <a:rPr lang="en-US"/>
              <a:t>Title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97E5CC-07A3-35F9-AD4B-0567029168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8235" y="3358775"/>
            <a:ext cx="5825565" cy="1093695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Acumin Pro" panose="020B05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449392579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C1CDA1F2-45CD-4172-B09C-F4116C6B8B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468712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33227" y="2097617"/>
            <a:ext cx="7383117" cy="1378839"/>
          </a:xfrm>
        </p:spPr>
        <p:txBody>
          <a:bodyPr wrap="square" anchor="b">
            <a:spAutoFit/>
          </a:bodyPr>
          <a:lstStyle>
            <a:lvl1pPr algn="l">
              <a:lnSpc>
                <a:spcPct val="84000"/>
              </a:lnSpc>
              <a:defRPr sz="5333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33226" y="3861117"/>
            <a:ext cx="7383117" cy="649923"/>
          </a:xfrm>
        </p:spPr>
        <p:txBody>
          <a:bodyPr/>
          <a:lstStyle>
            <a:lvl1pPr marL="0" indent="0" algn="l">
              <a:buNone/>
              <a:defRPr sz="1333" b="1" cap="all" baseline="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MEETING NAME or </a:t>
            </a:r>
            <a:r>
              <a:rPr lang="en-US" err="1"/>
              <a:t>SubTitl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Cellphire, Inc.   Confidential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AA240-EF9F-46CE-9076-02F2D9E7E27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8F3BB6A-B315-4407-996C-4590705B0596}"/>
              </a:ext>
            </a:extLst>
          </p:cNvPr>
          <p:cNvCxnSpPr>
            <a:cxnSpLocks/>
          </p:cNvCxnSpPr>
          <p:nvPr userDrawn="1"/>
        </p:nvCxnSpPr>
        <p:spPr>
          <a:xfrm>
            <a:off x="3633228" y="3668785"/>
            <a:ext cx="300838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887E27CF-ED54-49FB-94E3-B54F974B951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40" y="5497539"/>
            <a:ext cx="1253200" cy="693944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E13D017-58C3-4D5D-B87F-7A5714DEDF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33226" y="5811340"/>
            <a:ext cx="3757084" cy="240065"/>
          </a:xfrm>
        </p:spPr>
        <p:txBody>
          <a:bodyPr>
            <a:noAutofit/>
          </a:bodyPr>
          <a:lstStyle>
            <a:lvl1pPr>
              <a:defRPr sz="1733" b="0" cap="none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B42719B-A274-4D4F-9C7D-FD0706BF6B36}"/>
              </a:ext>
            </a:extLst>
          </p:cNvPr>
          <p:cNvCxnSpPr>
            <a:cxnSpLocks/>
          </p:cNvCxnSpPr>
          <p:nvPr userDrawn="1"/>
        </p:nvCxnSpPr>
        <p:spPr>
          <a:xfrm>
            <a:off x="3446223" y="5770697"/>
            <a:ext cx="0" cy="292608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31DB0F3-A162-429E-BEE9-2629FDCB5F8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3445933" cy="4687121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478654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/>
            </a:lvl2pPr>
            <a:lvl3pPr>
              <a:defRPr sz="1600"/>
            </a:lvl3pPr>
            <a:lvl4pPr>
              <a:defRPr sz="1467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Cellphire, Inc. | Confidential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AA240-EF9F-46CE-9076-02F2D9E7E2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27296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400" y="2629510"/>
            <a:ext cx="10515600" cy="830997"/>
          </a:xfrm>
        </p:spPr>
        <p:txBody>
          <a:bodyPr anchor="b">
            <a:noAutofit/>
          </a:bodyPr>
          <a:lstStyle>
            <a:lvl1pPr>
              <a:defRPr sz="4533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17E22319-13FE-4AF3-9FCA-98B1000102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40" y="5497539"/>
            <a:ext cx="1253200" cy="69394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760E110-49BE-4E11-AEB7-956BE347A777}"/>
              </a:ext>
            </a:extLst>
          </p:cNvPr>
          <p:cNvSpPr/>
          <p:nvPr userDrawn="1"/>
        </p:nvSpPr>
        <p:spPr>
          <a:xfrm>
            <a:off x="1" y="1"/>
            <a:ext cx="12193779" cy="4950060"/>
          </a:xfrm>
          <a:custGeom>
            <a:avLst/>
            <a:gdLst>
              <a:gd name="connsiteX0" fmla="*/ 0 w 9143429"/>
              <a:gd name="connsiteY0" fmla="*/ 0 h 3516351"/>
              <a:gd name="connsiteX1" fmla="*/ 9143429 w 9143429"/>
              <a:gd name="connsiteY1" fmla="*/ 0 h 3516351"/>
              <a:gd name="connsiteX2" fmla="*/ 9143429 w 9143429"/>
              <a:gd name="connsiteY2" fmla="*/ 3516351 h 3516351"/>
              <a:gd name="connsiteX3" fmla="*/ 0 w 9143429"/>
              <a:gd name="connsiteY3" fmla="*/ 3516351 h 3516351"/>
              <a:gd name="connsiteX4" fmla="*/ 0 w 9143429"/>
              <a:gd name="connsiteY4" fmla="*/ 0 h 3516351"/>
              <a:gd name="connsiteX0" fmla="*/ 0 w 9143429"/>
              <a:gd name="connsiteY0" fmla="*/ 0 h 3516351"/>
              <a:gd name="connsiteX1" fmla="*/ 9143429 w 9143429"/>
              <a:gd name="connsiteY1" fmla="*/ 0 h 3516351"/>
              <a:gd name="connsiteX2" fmla="*/ 9143429 w 9143429"/>
              <a:gd name="connsiteY2" fmla="*/ 3516351 h 3516351"/>
              <a:gd name="connsiteX3" fmla="*/ 4512527 w 9143429"/>
              <a:gd name="connsiteY3" fmla="*/ 3508917 h 3516351"/>
              <a:gd name="connsiteX4" fmla="*/ 0 w 9143429"/>
              <a:gd name="connsiteY4" fmla="*/ 3516351 h 3516351"/>
              <a:gd name="connsiteX5" fmla="*/ 0 w 9143429"/>
              <a:gd name="connsiteY5" fmla="*/ 0 h 3516351"/>
              <a:gd name="connsiteX0" fmla="*/ 0 w 9143429"/>
              <a:gd name="connsiteY0" fmla="*/ 0 h 3672480"/>
              <a:gd name="connsiteX1" fmla="*/ 9143429 w 9143429"/>
              <a:gd name="connsiteY1" fmla="*/ 0 h 3672480"/>
              <a:gd name="connsiteX2" fmla="*/ 9143429 w 9143429"/>
              <a:gd name="connsiteY2" fmla="*/ 3516351 h 3672480"/>
              <a:gd name="connsiteX3" fmla="*/ 4512527 w 9143429"/>
              <a:gd name="connsiteY3" fmla="*/ 3508917 h 3672480"/>
              <a:gd name="connsiteX4" fmla="*/ 0 w 9143429"/>
              <a:gd name="connsiteY4" fmla="*/ 3516351 h 3672480"/>
              <a:gd name="connsiteX5" fmla="*/ 0 w 9143429"/>
              <a:gd name="connsiteY5" fmla="*/ 0 h 3672480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43429 w 9143429"/>
              <a:gd name="connsiteY2" fmla="*/ 3516351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43429 w 9143429"/>
              <a:gd name="connsiteY2" fmla="*/ 3516351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43429 w 9143429"/>
              <a:gd name="connsiteY2" fmla="*/ 3516351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43429 w 9143429"/>
              <a:gd name="connsiteY2" fmla="*/ 3516351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21127 w 9143429"/>
              <a:gd name="connsiteY2" fmla="*/ 2854712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43429 w 9143429"/>
              <a:gd name="connsiteY2" fmla="*/ 2854712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35995 w 9143429"/>
              <a:gd name="connsiteY2" fmla="*/ 3144644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35995 w 9143429"/>
              <a:gd name="connsiteY2" fmla="*/ 3144644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35995 w 9143429"/>
              <a:gd name="connsiteY2" fmla="*/ 3144644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4309"/>
              <a:gd name="connsiteY0" fmla="*/ 0 h 3712545"/>
              <a:gd name="connsiteX1" fmla="*/ 9143429 w 9144309"/>
              <a:gd name="connsiteY1" fmla="*/ 0 h 3712545"/>
              <a:gd name="connsiteX2" fmla="*/ 9143615 w 9144309"/>
              <a:gd name="connsiteY2" fmla="*/ 3142739 h 3712545"/>
              <a:gd name="connsiteX3" fmla="*/ 4512527 w 9144309"/>
              <a:gd name="connsiteY3" fmla="*/ 3508917 h 3712545"/>
              <a:gd name="connsiteX4" fmla="*/ 0 w 9144309"/>
              <a:gd name="connsiteY4" fmla="*/ 3516351 h 3712545"/>
              <a:gd name="connsiteX5" fmla="*/ 0 w 9144309"/>
              <a:gd name="connsiteY5" fmla="*/ 0 h 3712545"/>
              <a:gd name="connsiteX0" fmla="*/ 0 w 9145334"/>
              <a:gd name="connsiteY0" fmla="*/ 0 h 3712545"/>
              <a:gd name="connsiteX1" fmla="*/ 9145334 w 9145334"/>
              <a:gd name="connsiteY1" fmla="*/ 0 h 3712545"/>
              <a:gd name="connsiteX2" fmla="*/ 9143615 w 9145334"/>
              <a:gd name="connsiteY2" fmla="*/ 3142739 h 3712545"/>
              <a:gd name="connsiteX3" fmla="*/ 4512527 w 9145334"/>
              <a:gd name="connsiteY3" fmla="*/ 3508917 h 3712545"/>
              <a:gd name="connsiteX4" fmla="*/ 0 w 9145334"/>
              <a:gd name="connsiteY4" fmla="*/ 3516351 h 3712545"/>
              <a:gd name="connsiteX5" fmla="*/ 0 w 9145334"/>
              <a:gd name="connsiteY5" fmla="*/ 0 h 3712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5334" h="3712545">
                <a:moveTo>
                  <a:pt x="0" y="0"/>
                </a:moveTo>
                <a:lnTo>
                  <a:pt x="9145334" y="0"/>
                </a:lnTo>
                <a:cubicBezTo>
                  <a:pt x="9142856" y="1048215"/>
                  <a:pt x="9146093" y="2094524"/>
                  <a:pt x="9143615" y="3142739"/>
                </a:cubicBezTo>
                <a:cubicBezTo>
                  <a:pt x="8046029" y="3132827"/>
                  <a:pt x="6398132" y="3266068"/>
                  <a:pt x="4512527" y="3508917"/>
                </a:cubicBezTo>
                <a:cubicBezTo>
                  <a:pt x="3275980" y="3667512"/>
                  <a:pt x="1563649" y="3870712"/>
                  <a:pt x="0" y="3516351"/>
                </a:cubicBezTo>
                <a:lnTo>
                  <a:pt x="0" y="0"/>
                </a:lnTo>
                <a:close/>
              </a:path>
            </a:pathLst>
          </a:custGeom>
          <a:solidFill>
            <a:srgbClr val="329F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20004487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400" y="2629510"/>
            <a:ext cx="10515600" cy="830997"/>
          </a:xfrm>
        </p:spPr>
        <p:txBody>
          <a:bodyPr anchor="b">
            <a:noAutofit/>
          </a:bodyPr>
          <a:lstStyle>
            <a:lvl1pPr>
              <a:defRPr sz="4533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30728" y="5527699"/>
            <a:ext cx="6302144" cy="231287"/>
          </a:xfrm>
        </p:spPr>
        <p:txBody>
          <a:bodyPr anchor="b" anchorCtr="0"/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17E22319-13FE-4AF3-9FCA-98B1000102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40" y="5497539"/>
            <a:ext cx="1253200" cy="69394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760E110-49BE-4E11-AEB7-956BE347A777}"/>
              </a:ext>
            </a:extLst>
          </p:cNvPr>
          <p:cNvSpPr/>
          <p:nvPr userDrawn="1"/>
        </p:nvSpPr>
        <p:spPr>
          <a:xfrm>
            <a:off x="1" y="1"/>
            <a:ext cx="12193779" cy="4950060"/>
          </a:xfrm>
          <a:custGeom>
            <a:avLst/>
            <a:gdLst>
              <a:gd name="connsiteX0" fmla="*/ 0 w 9143429"/>
              <a:gd name="connsiteY0" fmla="*/ 0 h 3516351"/>
              <a:gd name="connsiteX1" fmla="*/ 9143429 w 9143429"/>
              <a:gd name="connsiteY1" fmla="*/ 0 h 3516351"/>
              <a:gd name="connsiteX2" fmla="*/ 9143429 w 9143429"/>
              <a:gd name="connsiteY2" fmla="*/ 3516351 h 3516351"/>
              <a:gd name="connsiteX3" fmla="*/ 0 w 9143429"/>
              <a:gd name="connsiteY3" fmla="*/ 3516351 h 3516351"/>
              <a:gd name="connsiteX4" fmla="*/ 0 w 9143429"/>
              <a:gd name="connsiteY4" fmla="*/ 0 h 3516351"/>
              <a:gd name="connsiteX0" fmla="*/ 0 w 9143429"/>
              <a:gd name="connsiteY0" fmla="*/ 0 h 3516351"/>
              <a:gd name="connsiteX1" fmla="*/ 9143429 w 9143429"/>
              <a:gd name="connsiteY1" fmla="*/ 0 h 3516351"/>
              <a:gd name="connsiteX2" fmla="*/ 9143429 w 9143429"/>
              <a:gd name="connsiteY2" fmla="*/ 3516351 h 3516351"/>
              <a:gd name="connsiteX3" fmla="*/ 4512527 w 9143429"/>
              <a:gd name="connsiteY3" fmla="*/ 3508917 h 3516351"/>
              <a:gd name="connsiteX4" fmla="*/ 0 w 9143429"/>
              <a:gd name="connsiteY4" fmla="*/ 3516351 h 3516351"/>
              <a:gd name="connsiteX5" fmla="*/ 0 w 9143429"/>
              <a:gd name="connsiteY5" fmla="*/ 0 h 3516351"/>
              <a:gd name="connsiteX0" fmla="*/ 0 w 9143429"/>
              <a:gd name="connsiteY0" fmla="*/ 0 h 3672480"/>
              <a:gd name="connsiteX1" fmla="*/ 9143429 w 9143429"/>
              <a:gd name="connsiteY1" fmla="*/ 0 h 3672480"/>
              <a:gd name="connsiteX2" fmla="*/ 9143429 w 9143429"/>
              <a:gd name="connsiteY2" fmla="*/ 3516351 h 3672480"/>
              <a:gd name="connsiteX3" fmla="*/ 4512527 w 9143429"/>
              <a:gd name="connsiteY3" fmla="*/ 3508917 h 3672480"/>
              <a:gd name="connsiteX4" fmla="*/ 0 w 9143429"/>
              <a:gd name="connsiteY4" fmla="*/ 3516351 h 3672480"/>
              <a:gd name="connsiteX5" fmla="*/ 0 w 9143429"/>
              <a:gd name="connsiteY5" fmla="*/ 0 h 3672480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43429 w 9143429"/>
              <a:gd name="connsiteY2" fmla="*/ 3516351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43429 w 9143429"/>
              <a:gd name="connsiteY2" fmla="*/ 3516351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43429 w 9143429"/>
              <a:gd name="connsiteY2" fmla="*/ 3516351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43429 w 9143429"/>
              <a:gd name="connsiteY2" fmla="*/ 3516351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21127 w 9143429"/>
              <a:gd name="connsiteY2" fmla="*/ 2854712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43429 w 9143429"/>
              <a:gd name="connsiteY2" fmla="*/ 2854712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35995 w 9143429"/>
              <a:gd name="connsiteY2" fmla="*/ 3144644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35995 w 9143429"/>
              <a:gd name="connsiteY2" fmla="*/ 3144644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35995 w 9143429"/>
              <a:gd name="connsiteY2" fmla="*/ 3144644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4309"/>
              <a:gd name="connsiteY0" fmla="*/ 0 h 3712545"/>
              <a:gd name="connsiteX1" fmla="*/ 9143429 w 9144309"/>
              <a:gd name="connsiteY1" fmla="*/ 0 h 3712545"/>
              <a:gd name="connsiteX2" fmla="*/ 9143615 w 9144309"/>
              <a:gd name="connsiteY2" fmla="*/ 3142739 h 3712545"/>
              <a:gd name="connsiteX3" fmla="*/ 4512527 w 9144309"/>
              <a:gd name="connsiteY3" fmla="*/ 3508917 h 3712545"/>
              <a:gd name="connsiteX4" fmla="*/ 0 w 9144309"/>
              <a:gd name="connsiteY4" fmla="*/ 3516351 h 3712545"/>
              <a:gd name="connsiteX5" fmla="*/ 0 w 9144309"/>
              <a:gd name="connsiteY5" fmla="*/ 0 h 3712545"/>
              <a:gd name="connsiteX0" fmla="*/ 0 w 9145334"/>
              <a:gd name="connsiteY0" fmla="*/ 0 h 3712545"/>
              <a:gd name="connsiteX1" fmla="*/ 9145334 w 9145334"/>
              <a:gd name="connsiteY1" fmla="*/ 0 h 3712545"/>
              <a:gd name="connsiteX2" fmla="*/ 9143615 w 9145334"/>
              <a:gd name="connsiteY2" fmla="*/ 3142739 h 3712545"/>
              <a:gd name="connsiteX3" fmla="*/ 4512527 w 9145334"/>
              <a:gd name="connsiteY3" fmla="*/ 3508917 h 3712545"/>
              <a:gd name="connsiteX4" fmla="*/ 0 w 9145334"/>
              <a:gd name="connsiteY4" fmla="*/ 3516351 h 3712545"/>
              <a:gd name="connsiteX5" fmla="*/ 0 w 9145334"/>
              <a:gd name="connsiteY5" fmla="*/ 0 h 3712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5334" h="3712545">
                <a:moveTo>
                  <a:pt x="0" y="0"/>
                </a:moveTo>
                <a:lnTo>
                  <a:pt x="9145334" y="0"/>
                </a:lnTo>
                <a:cubicBezTo>
                  <a:pt x="9142856" y="1048215"/>
                  <a:pt x="9146093" y="2094524"/>
                  <a:pt x="9143615" y="3142739"/>
                </a:cubicBezTo>
                <a:cubicBezTo>
                  <a:pt x="8046029" y="3132827"/>
                  <a:pt x="6398132" y="3266068"/>
                  <a:pt x="4512527" y="3508917"/>
                </a:cubicBezTo>
                <a:cubicBezTo>
                  <a:pt x="3275980" y="3667512"/>
                  <a:pt x="1563649" y="3870712"/>
                  <a:pt x="0" y="3516351"/>
                </a:cubicBezTo>
                <a:lnTo>
                  <a:pt x="0" y="0"/>
                </a:lnTo>
                <a:close/>
              </a:path>
            </a:pathLst>
          </a:custGeom>
          <a:solidFill>
            <a:srgbClr val="329F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AF447E7-DBA1-4C17-B74A-34080CE6A656}"/>
              </a:ext>
            </a:extLst>
          </p:cNvPr>
          <p:cNvCxnSpPr>
            <a:cxnSpLocks/>
          </p:cNvCxnSpPr>
          <p:nvPr userDrawn="1"/>
        </p:nvCxnSpPr>
        <p:spPr>
          <a:xfrm>
            <a:off x="3448081" y="5527699"/>
            <a:ext cx="0" cy="786741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CA3CC1F4-EFA9-425D-83A9-5AEFFFC583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30084" y="5869096"/>
            <a:ext cx="3232149" cy="53551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733" b="0" cap="none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96313B2-FF72-483D-8BC9-EDB556059B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55314" y="5869096"/>
            <a:ext cx="3232149" cy="53551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733" b="0" cap="none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33476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9933" y="499873"/>
            <a:ext cx="10693867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9933" y="1193800"/>
            <a:ext cx="5181600" cy="4673600"/>
          </a:xfrm>
        </p:spPr>
        <p:txBody>
          <a:bodyPr/>
          <a:lstStyle>
            <a:lvl2pPr>
              <a:defRPr/>
            </a:lvl2pPr>
            <a:lvl3pPr>
              <a:defRPr sz="1600"/>
            </a:lvl3pPr>
            <a:lvl4pPr>
              <a:defRPr sz="1467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193800"/>
            <a:ext cx="5181600" cy="4673600"/>
          </a:xfrm>
        </p:spPr>
        <p:txBody>
          <a:bodyPr/>
          <a:lstStyle>
            <a:lvl2pPr>
              <a:defRPr/>
            </a:lvl2pPr>
            <a:lvl3pPr>
              <a:defRPr sz="1600"/>
            </a:lvl3pPr>
            <a:lvl4pPr>
              <a:defRPr sz="1467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0 Cellphire, Inc.   Confidential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AA240-EF9F-46CE-9076-02F2D9E7E2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70912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_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9933" y="499873"/>
            <a:ext cx="10693867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9934" y="1193800"/>
            <a:ext cx="4373461" cy="4673600"/>
          </a:xfrm>
        </p:spPr>
        <p:txBody>
          <a:bodyPr/>
          <a:lstStyle>
            <a:lvl2pPr>
              <a:defRPr/>
            </a:lvl2pPr>
            <a:lvl3pPr>
              <a:defRPr sz="1600"/>
            </a:lvl3pPr>
            <a:lvl4pPr>
              <a:defRPr sz="1467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0 Cellphire, Inc.   Confidential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AA240-EF9F-46CE-9076-02F2D9E7E2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6413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9933" y="997140"/>
            <a:ext cx="51816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997140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0 Cellphire, Inc.   Confidential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AA240-EF9F-46CE-9076-02F2D9E7E27F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CD178B6-7A44-4C6F-8F99-4D93D56C11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9933" y="499873"/>
            <a:ext cx="10693867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38E7A70-F108-4E83-B62E-7F1330957A3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59933" y="1908141"/>
            <a:ext cx="5181600" cy="3959260"/>
          </a:xfrm>
        </p:spPr>
        <p:txBody>
          <a:bodyPr/>
          <a:lstStyle>
            <a:lvl2pPr>
              <a:defRPr/>
            </a:lvl2pPr>
            <a:lvl3pPr>
              <a:defRPr sz="1600"/>
            </a:lvl3pPr>
            <a:lvl4pPr>
              <a:defRPr sz="1467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83E87FE4-A1D8-4366-9C55-218877B11DD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908141"/>
            <a:ext cx="5181600" cy="3959260"/>
          </a:xfrm>
        </p:spPr>
        <p:txBody>
          <a:bodyPr/>
          <a:lstStyle>
            <a:lvl2pPr>
              <a:defRPr/>
            </a:lvl2pPr>
            <a:lvl3pPr>
              <a:defRPr sz="1600"/>
            </a:lvl3pPr>
            <a:lvl4pPr>
              <a:defRPr sz="1467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711565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0 Cellphire, Inc.   Confidential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AA240-EF9F-46CE-9076-02F2D9E7E2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46374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B0B87E9-AC65-4F26-8352-44848DBD15A9}"/>
              </a:ext>
            </a:extLst>
          </p:cNvPr>
          <p:cNvSpPr/>
          <p:nvPr userDrawn="1"/>
        </p:nvSpPr>
        <p:spPr>
          <a:xfrm>
            <a:off x="0" y="6060443"/>
            <a:ext cx="12192000" cy="7975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062B31C2-72EF-4CD1-88D0-1F55636CC7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130" y="6242781"/>
            <a:ext cx="744220" cy="412103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0 Cellphire, Inc.   Confidential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AA240-EF9F-46CE-9076-02F2D9E7E2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3063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C1CDA1F2-45CD-4172-B09C-F4116C6B8B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468712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0400" y="2787035"/>
            <a:ext cx="10355944" cy="689420"/>
          </a:xfrm>
        </p:spPr>
        <p:txBody>
          <a:bodyPr wrap="square" anchor="b">
            <a:spAutoFit/>
          </a:bodyPr>
          <a:lstStyle>
            <a:lvl1pPr algn="l">
              <a:lnSpc>
                <a:spcPct val="84000"/>
              </a:lnSpc>
              <a:defRPr sz="5333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0 Cellphire, Inc.   Confidential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AA240-EF9F-46CE-9076-02F2D9E7E27F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887E27CF-ED54-49FB-94E3-B54F974B951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40" y="5497539"/>
            <a:ext cx="1253200" cy="693944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CAC55F1-78D7-4358-9B47-EF0AE06A4E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30728" y="5527699"/>
            <a:ext cx="6302144" cy="231287"/>
          </a:xfrm>
        </p:spPr>
        <p:txBody>
          <a:bodyPr anchor="b" anchorCtr="0"/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4C1B056-BBFB-4F6B-824A-0A8C47D82016}"/>
              </a:ext>
            </a:extLst>
          </p:cNvPr>
          <p:cNvCxnSpPr>
            <a:cxnSpLocks/>
          </p:cNvCxnSpPr>
          <p:nvPr userDrawn="1"/>
        </p:nvCxnSpPr>
        <p:spPr>
          <a:xfrm>
            <a:off x="3448081" y="5527699"/>
            <a:ext cx="0" cy="786741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6EB445E0-DF70-4E53-BB1A-87CEB1F8E8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30084" y="5869096"/>
            <a:ext cx="3232149" cy="53551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733" b="0" cap="none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E0CC88B5-4542-4B1E-AAFD-813174E8E2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55314" y="5869096"/>
            <a:ext cx="3232149" cy="53551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733" b="0" cap="none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12731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881EEC-1271-EB90-3528-A6392B1698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6071" y="842682"/>
            <a:ext cx="9813364" cy="2052358"/>
          </a:xfrm>
        </p:spPr>
        <p:txBody>
          <a:bodyPr anchor="b"/>
          <a:lstStyle>
            <a:lvl1pPr algn="ctr">
              <a:defRPr sz="6000">
                <a:solidFill>
                  <a:srgbClr val="00193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539245-D78A-0B50-2BE3-5B743D68CD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06070" y="3125507"/>
            <a:ext cx="9813365" cy="1500187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001934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1251201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088AB7B8-50C3-1C70-0FD4-CA362E21A1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9300" y="6306628"/>
            <a:ext cx="8017328" cy="184665"/>
          </a:xfrm>
        </p:spPr>
        <p:txBody>
          <a:bodyPr anchor="t" anchorCtr="0"/>
          <a:lstStyle>
            <a:lvl1pPr>
              <a:lnSpc>
                <a:spcPct val="100000"/>
              </a:lnSpc>
              <a:defRPr sz="800" b="0">
                <a:solidFill>
                  <a:srgbClr val="000000"/>
                </a:solidFill>
              </a:defRPr>
            </a:lvl1pPr>
            <a:lvl2pPr>
              <a:lnSpc>
                <a:spcPct val="100000"/>
              </a:lnSpc>
              <a:defRPr sz="1067"/>
            </a:lvl2pPr>
            <a:lvl3pPr>
              <a:lnSpc>
                <a:spcPct val="100000"/>
              </a:lnSpc>
              <a:defRPr sz="1067"/>
            </a:lvl3pPr>
            <a:lvl4pPr>
              <a:lnSpc>
                <a:spcPct val="100000"/>
              </a:lnSpc>
              <a:defRPr sz="1067"/>
            </a:lvl4pPr>
            <a:lvl5pPr>
              <a:lnSpc>
                <a:spcPct val="100000"/>
              </a:lnSpc>
              <a:defRPr sz="1067"/>
            </a:lvl5pPr>
          </a:lstStyle>
          <a:p>
            <a:pPr lvl="0"/>
            <a:r>
              <a:rPr lang="en-US"/>
              <a:t>Sources and footnotes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7E14B87A-FD2F-146E-F42F-AE8526FF1C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4887" y="6433441"/>
            <a:ext cx="330549" cy="184665"/>
          </a:xfrm>
        </p:spPr>
        <p:txBody>
          <a:bodyPr/>
          <a:lstStyle/>
          <a:p>
            <a:fld id="{F82AA240-EF9F-46CE-9076-02F2D9E7E2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232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3717" y="496342"/>
            <a:ext cx="11051459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3717" y="1493292"/>
            <a:ext cx="11051459" cy="4673600"/>
          </a:xfrm>
          <a:prstGeom prst="rect">
            <a:avLst/>
          </a:prstGeom>
        </p:spPr>
        <p:txBody>
          <a:bodyPr/>
          <a:lstStyle>
            <a:lvl1pPr>
              <a:defRPr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4pPr>
            <a:lvl5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AA240-EF9F-46CE-9076-02F2D9E7E27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08B778-17D5-23A6-FDDB-D4D391B1BA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716" y="891893"/>
            <a:ext cx="11051459" cy="369332"/>
          </a:xfrm>
          <a:prstGeom prst="rect">
            <a:avLst/>
          </a:prstGeom>
        </p:spPr>
        <p:txBody>
          <a:bodyPr/>
          <a:lstStyle>
            <a:lvl1pPr>
              <a:defRPr sz="1867"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DFB5861-826E-08C2-7AFF-869A0DF2B9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885319" y="6499877"/>
            <a:ext cx="2009903" cy="184665"/>
          </a:xfrm>
        </p:spPr>
        <p:txBody>
          <a:bodyPr anchor="ctr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 marL="463538" indent="0">
              <a:spcBef>
                <a:spcPts val="0"/>
              </a:spcBef>
              <a:buFontTx/>
              <a:buNone/>
              <a:defRPr/>
            </a:lvl2pPr>
            <a:lvl3pPr marL="918610" indent="0">
              <a:spcBef>
                <a:spcPts val="0"/>
              </a:spcBef>
              <a:buFontTx/>
              <a:buNone/>
              <a:defRPr/>
            </a:lvl3pPr>
            <a:lvl4pPr marL="1299601" indent="0">
              <a:spcBef>
                <a:spcPts val="0"/>
              </a:spcBef>
              <a:buFontTx/>
              <a:buNone/>
              <a:defRPr/>
            </a:lvl4pPr>
            <a:lvl5pPr marL="1682707" indent="0">
              <a:spcBef>
                <a:spcPts val="0"/>
              </a:spcBef>
              <a:buFontTx/>
              <a:buNone/>
              <a:defRPr/>
            </a:lvl5pPr>
          </a:lstStyle>
          <a:p>
            <a:pPr lvl="0"/>
            <a:r>
              <a:rPr lang="en-US"/>
              <a:t>Non-confidentia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E95272E-459D-41B4-D8FC-5BC5AC8CC5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9300" y="6306628"/>
            <a:ext cx="8017328" cy="184665"/>
          </a:xfrm>
        </p:spPr>
        <p:txBody>
          <a:bodyPr anchor="t" anchorCtr="0"/>
          <a:lstStyle>
            <a:lvl1pPr>
              <a:lnSpc>
                <a:spcPct val="100000"/>
              </a:lnSpc>
              <a:defRPr sz="800" b="0">
                <a:solidFill>
                  <a:srgbClr val="000000"/>
                </a:solidFill>
              </a:defRPr>
            </a:lvl1pPr>
            <a:lvl2pPr>
              <a:lnSpc>
                <a:spcPct val="100000"/>
              </a:lnSpc>
              <a:defRPr sz="1067"/>
            </a:lvl2pPr>
            <a:lvl3pPr>
              <a:lnSpc>
                <a:spcPct val="100000"/>
              </a:lnSpc>
              <a:defRPr sz="1067"/>
            </a:lvl3pPr>
            <a:lvl4pPr>
              <a:lnSpc>
                <a:spcPct val="100000"/>
              </a:lnSpc>
              <a:defRPr sz="1067"/>
            </a:lvl4pPr>
            <a:lvl5pPr>
              <a:lnSpc>
                <a:spcPct val="100000"/>
              </a:lnSpc>
              <a:defRPr sz="1067"/>
            </a:lvl5pPr>
          </a:lstStyle>
          <a:p>
            <a:pPr lvl="0"/>
            <a:r>
              <a:rPr lang="en-US"/>
              <a:t>Sources and footnotes</a:t>
            </a:r>
          </a:p>
        </p:txBody>
      </p:sp>
    </p:spTree>
    <p:extLst>
      <p:ext uri="{BB962C8B-B14F-4D97-AF65-F5344CB8AC3E}">
        <p14:creationId xmlns:p14="http://schemas.microsoft.com/office/powerpoint/2010/main" val="17909939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C2DD36-2264-2FEB-305E-506B8815A2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3255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356682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4DB89B3-4E6A-0256-65D2-DDDF41BD9D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149475"/>
            <a:ext cx="5157787" cy="40401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372550-4E07-186E-37AC-9460F25FA5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3255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356682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41E7D83-40E2-3619-05E4-FCD432E23D2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149475"/>
            <a:ext cx="5183188" cy="40401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1892F6-41E5-4308-A1E2-F9E9EBFD8F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D347D-707D-4B4C-834D-8FACA04E9F09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3BD9ACE-2D84-5B7E-4E61-0E8506177A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6151" y="190834"/>
            <a:ext cx="10515600" cy="11235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632646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3717" y="496342"/>
            <a:ext cx="11051459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3717" y="1493292"/>
            <a:ext cx="11051459" cy="4673600"/>
          </a:xfrm>
          <a:prstGeom prst="rect">
            <a:avLst/>
          </a:prstGeom>
        </p:spPr>
        <p:txBody>
          <a:bodyPr/>
          <a:lstStyle>
            <a:lvl1pPr>
              <a:defRPr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4pPr>
            <a:lvl5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AA240-EF9F-46CE-9076-02F2D9E7E27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08B778-17D5-23A6-FDDB-D4D391B1BA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716" y="891893"/>
            <a:ext cx="11051459" cy="369332"/>
          </a:xfrm>
          <a:prstGeom prst="rect">
            <a:avLst/>
          </a:prstGeom>
        </p:spPr>
        <p:txBody>
          <a:bodyPr/>
          <a:lstStyle>
            <a:lvl1pPr>
              <a:defRPr sz="1867"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8EE92E-6375-E3AE-69E2-B53276507A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9300" y="6306628"/>
            <a:ext cx="8017328" cy="184665"/>
          </a:xfrm>
        </p:spPr>
        <p:txBody>
          <a:bodyPr anchor="t" anchorCtr="0"/>
          <a:lstStyle>
            <a:lvl1pPr>
              <a:lnSpc>
                <a:spcPct val="100000"/>
              </a:lnSpc>
              <a:defRPr sz="800" b="0">
                <a:solidFill>
                  <a:srgbClr val="000000"/>
                </a:solidFill>
              </a:defRPr>
            </a:lvl1pPr>
            <a:lvl2pPr>
              <a:lnSpc>
                <a:spcPct val="100000"/>
              </a:lnSpc>
              <a:defRPr sz="1067"/>
            </a:lvl2pPr>
            <a:lvl3pPr>
              <a:lnSpc>
                <a:spcPct val="100000"/>
              </a:lnSpc>
              <a:defRPr sz="1067"/>
            </a:lvl3pPr>
            <a:lvl4pPr>
              <a:lnSpc>
                <a:spcPct val="100000"/>
              </a:lnSpc>
              <a:defRPr sz="1067"/>
            </a:lvl4pPr>
            <a:lvl5pPr>
              <a:lnSpc>
                <a:spcPct val="100000"/>
              </a:lnSpc>
              <a:defRPr sz="1067"/>
            </a:lvl5pPr>
          </a:lstStyle>
          <a:p>
            <a:pPr lvl="0"/>
            <a:r>
              <a:rPr lang="en-US"/>
              <a:t>Sources and footnotes</a:t>
            </a:r>
          </a:p>
        </p:txBody>
      </p:sp>
    </p:spTree>
    <p:extLst>
      <p:ext uri="{BB962C8B-B14F-4D97-AF65-F5344CB8AC3E}">
        <p14:creationId xmlns:p14="http://schemas.microsoft.com/office/powerpoint/2010/main" val="2625956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36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n-Confidenti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3717" y="496342"/>
            <a:ext cx="11051459" cy="369332"/>
          </a:xfrm>
        </p:spPr>
        <p:txBody>
          <a:bodyPr/>
          <a:lstStyle>
            <a:lvl1pPr>
              <a:lnSpc>
                <a:spcPct val="100000"/>
              </a:lnSpc>
              <a:defRPr sz="2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3717" y="1493292"/>
            <a:ext cx="11051459" cy="4673600"/>
          </a:xfrm>
          <a:prstGeom prst="rect">
            <a:avLst/>
          </a:prstGeom>
        </p:spPr>
        <p:txBody>
          <a:bodyPr/>
          <a:lstStyle>
            <a:lvl1pPr>
              <a:defRPr lang="en-US" sz="2133" b="1" kern="1200" cap="none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4pPr>
            <a:lvl5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5pPr>
          </a:lstStyle>
          <a:p>
            <a:pPr marL="0" lvl="0" indent="0" algn="l" defTabSz="914354" rtl="0" eaLnBrk="1" latinLnBrk="0" hangingPunct="1">
              <a:lnSpc>
                <a:spcPct val="90000"/>
              </a:lnSpc>
              <a:spcBef>
                <a:spcPts val="240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fld id="{F82AA240-EF9F-46CE-9076-02F2D9E7E2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08B778-17D5-23A6-FDDB-D4D391B1BA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717" y="938195"/>
            <a:ext cx="11051459" cy="36933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E95272E-459D-41B4-D8FC-5BC5AC8CC5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1829" y="6488409"/>
            <a:ext cx="8522291" cy="194739"/>
          </a:xfrm>
        </p:spPr>
        <p:txBody>
          <a:bodyPr anchor="ctr" anchorCtr="0"/>
          <a:lstStyle>
            <a:lvl1pPr>
              <a:lnSpc>
                <a:spcPct val="100000"/>
              </a:lnSpc>
              <a:defRPr sz="800" b="0">
                <a:solidFill>
                  <a:srgbClr val="000000"/>
                </a:solidFill>
              </a:defRPr>
            </a:lvl1pPr>
            <a:lvl2pPr>
              <a:lnSpc>
                <a:spcPct val="100000"/>
              </a:lnSpc>
              <a:defRPr sz="1067"/>
            </a:lvl2pPr>
            <a:lvl3pPr>
              <a:lnSpc>
                <a:spcPct val="100000"/>
              </a:lnSpc>
              <a:defRPr sz="1067"/>
            </a:lvl3pPr>
            <a:lvl4pPr>
              <a:lnSpc>
                <a:spcPct val="100000"/>
              </a:lnSpc>
              <a:defRPr sz="1067"/>
            </a:lvl4pPr>
            <a:lvl5pPr>
              <a:lnSpc>
                <a:spcPct val="100000"/>
              </a:lnSpc>
              <a:defRPr sz="1067"/>
            </a:lvl5pPr>
          </a:lstStyle>
          <a:p>
            <a:pPr lvl="0"/>
            <a:r>
              <a:rPr lang="en-US"/>
              <a:t>Sources and footnotes</a:t>
            </a:r>
          </a:p>
        </p:txBody>
      </p:sp>
    </p:spTree>
    <p:extLst>
      <p:ext uri="{BB962C8B-B14F-4D97-AF65-F5344CB8AC3E}">
        <p14:creationId xmlns:p14="http://schemas.microsoft.com/office/powerpoint/2010/main" val="24495957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770CE456-5A50-AE4A-2AC1-162A67A06202}"/>
              </a:ext>
            </a:extLst>
          </p:cNvPr>
          <p:cNvSpPr txBox="1"/>
          <p:nvPr userDrawn="1"/>
        </p:nvSpPr>
        <p:spPr>
          <a:xfrm>
            <a:off x="241582" y="6346023"/>
            <a:ext cx="256857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2"/>
                </a:solidFill>
              </a:rPr>
              <a:t>© 2025 </a:t>
            </a:r>
            <a:r>
              <a:rPr lang="en-US" sz="800" err="1">
                <a:solidFill>
                  <a:schemeClr val="tx2"/>
                </a:solidFill>
              </a:rPr>
              <a:t>Cellphire</a:t>
            </a:r>
            <a:r>
              <a:rPr lang="en-US" sz="800">
                <a:solidFill>
                  <a:schemeClr val="tx2"/>
                </a:solidFill>
              </a:rPr>
              <a:t> Therapeutics, Inc. | Confidential    </a:t>
            </a:r>
          </a:p>
        </p:txBody>
      </p:sp>
    </p:spTree>
    <p:extLst>
      <p:ext uri="{BB962C8B-B14F-4D97-AF65-F5344CB8AC3E}">
        <p14:creationId xmlns:p14="http://schemas.microsoft.com/office/powerpoint/2010/main" val="19727463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5_Blank">
    <p:bg>
      <p:bgPr>
        <a:solidFill>
          <a:schemeClr val="bg1">
            <a:alpha val="3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D6F9764-EEA1-D905-6C86-31F75375DB25}"/>
              </a:ext>
            </a:extLst>
          </p:cNvPr>
          <p:cNvSpPr/>
          <p:nvPr userDrawn="1"/>
        </p:nvSpPr>
        <p:spPr>
          <a:xfrm>
            <a:off x="0" y="1"/>
            <a:ext cx="12192000" cy="5820696"/>
          </a:xfrm>
          <a:prstGeom prst="rect">
            <a:avLst/>
          </a:prstGeom>
          <a:solidFill>
            <a:schemeClr val="tx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D59B20A-41D4-8C6C-D5AF-878493358761}"/>
              </a:ext>
            </a:extLst>
          </p:cNvPr>
          <p:cNvSpPr txBox="1">
            <a:spLocks/>
          </p:cNvSpPr>
          <p:nvPr userDrawn="1"/>
        </p:nvSpPr>
        <p:spPr>
          <a:xfrm>
            <a:off x="3630084" y="5869096"/>
            <a:ext cx="3232149" cy="5355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1" kern="1200" cap="all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68275" indent="-168275" algn="l" defTabSz="6858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44488" indent="-176213" algn="l" defTabSz="6858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11175" indent="-166688" algn="l" defTabSz="6858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87388" indent="-176213" algn="l" defTabSz="6858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00">
              <a:cs typeface="Arial"/>
            </a:endParaRPr>
          </a:p>
          <a:p>
            <a:endParaRPr lang="en-US" sz="1600"/>
          </a:p>
          <a:p>
            <a:endParaRPr lang="en-US" sz="1600"/>
          </a:p>
        </p:txBody>
      </p:sp>
      <p:pic>
        <p:nvPicPr>
          <p:cNvPr id="8" name="Picture 7" descr="A ambulance on the road&#10;&#10;Description automatically generated">
            <a:extLst>
              <a:ext uri="{FF2B5EF4-FFF2-40B4-BE49-F238E27FC236}">
                <a16:creationId xmlns:a16="http://schemas.microsoft.com/office/drawing/2014/main" id="{A3D4DD16-F013-FC52-0E46-A025698B52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grayscl/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820696"/>
          </a:xfrm>
          <a:prstGeom prst="rect">
            <a:avLst/>
          </a:prstGeom>
        </p:spPr>
      </p:pic>
      <p:pic>
        <p:nvPicPr>
          <p:cNvPr id="7" name="Picture 6" descr="A purple and blue curves on a black background&#10;&#10;Description automatically generated">
            <a:extLst>
              <a:ext uri="{FF2B5EF4-FFF2-40B4-BE49-F238E27FC236}">
                <a16:creationId xmlns:a16="http://schemas.microsoft.com/office/drawing/2014/main" id="{5631F58A-C961-B763-6F80-4A4144CCED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8651514">
            <a:off x="-3255171" y="-935002"/>
            <a:ext cx="9545324" cy="5081988"/>
          </a:xfrm>
          <a:custGeom>
            <a:avLst/>
            <a:gdLst>
              <a:gd name="connsiteX0" fmla="*/ 3025141 w 5721075"/>
              <a:gd name="connsiteY0" fmla="*/ 171832 h 3045935"/>
              <a:gd name="connsiteX1" fmla="*/ 5511131 w 5721075"/>
              <a:gd name="connsiteY1" fmla="*/ 3045935 h 3045935"/>
              <a:gd name="connsiteX2" fmla="*/ 0 w 5721075"/>
              <a:gd name="connsiteY2" fmla="*/ 3045935 h 3045935"/>
              <a:gd name="connsiteX3" fmla="*/ 0 w 5721075"/>
              <a:gd name="connsiteY3" fmla="*/ 2788464 h 3045935"/>
              <a:gd name="connsiteX4" fmla="*/ 5721075 w 5721075"/>
              <a:gd name="connsiteY4" fmla="*/ 0 h 3045935"/>
              <a:gd name="connsiteX5" fmla="*/ 5721075 w 5721075"/>
              <a:gd name="connsiteY5" fmla="*/ 768122 h 3045935"/>
              <a:gd name="connsiteX6" fmla="*/ 5056678 w 5721075"/>
              <a:gd name="connsiteY6" fmla="*/ 0 h 3045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21075" h="3045935">
                <a:moveTo>
                  <a:pt x="3025141" y="171832"/>
                </a:moveTo>
                <a:lnTo>
                  <a:pt x="5511131" y="3045935"/>
                </a:lnTo>
                <a:lnTo>
                  <a:pt x="0" y="3045935"/>
                </a:lnTo>
                <a:lnTo>
                  <a:pt x="0" y="2788464"/>
                </a:lnTo>
                <a:close/>
                <a:moveTo>
                  <a:pt x="5721075" y="0"/>
                </a:moveTo>
                <a:lnTo>
                  <a:pt x="5721075" y="768122"/>
                </a:lnTo>
                <a:lnTo>
                  <a:pt x="5056678" y="0"/>
                </a:lnTo>
                <a:close/>
              </a:path>
            </a:pathLst>
          </a:cu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F3EBF5AF-0884-E354-BF3E-A2458801E19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47929" y="6016321"/>
            <a:ext cx="1284657" cy="70775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78AE340-91EC-EA29-AA8E-7157A1D7044D}"/>
              </a:ext>
            </a:extLst>
          </p:cNvPr>
          <p:cNvSpPr txBox="1"/>
          <p:nvPr userDrawn="1"/>
        </p:nvSpPr>
        <p:spPr>
          <a:xfrm>
            <a:off x="241582" y="6346023"/>
            <a:ext cx="256857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2"/>
                </a:solidFill>
              </a:rPr>
              <a:t>© 2025 </a:t>
            </a:r>
            <a:r>
              <a:rPr lang="en-US" sz="800" err="1">
                <a:solidFill>
                  <a:schemeClr val="tx2"/>
                </a:solidFill>
              </a:rPr>
              <a:t>Cellphire</a:t>
            </a:r>
            <a:r>
              <a:rPr lang="en-US" sz="800">
                <a:solidFill>
                  <a:schemeClr val="tx2"/>
                </a:solidFill>
              </a:rPr>
              <a:t> Therapeutics, Inc. | Confidential    </a:t>
            </a:r>
          </a:p>
        </p:txBody>
      </p:sp>
    </p:spTree>
    <p:extLst>
      <p:ext uri="{BB962C8B-B14F-4D97-AF65-F5344CB8AC3E}">
        <p14:creationId xmlns:p14="http://schemas.microsoft.com/office/powerpoint/2010/main" val="616726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close-up of a doctor wearing surgical gear&#10;&#10;Description automatically generated">
            <a:extLst>
              <a:ext uri="{FF2B5EF4-FFF2-40B4-BE49-F238E27FC236}">
                <a16:creationId xmlns:a16="http://schemas.microsoft.com/office/drawing/2014/main" id="{BCC26B3B-1C13-87A7-E0A3-0E72674D4A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49789" y="-1"/>
            <a:ext cx="9242211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B427ACE-59AA-B1DF-AF1D-5F36DFF9C4B7}"/>
              </a:ext>
            </a:extLst>
          </p:cNvPr>
          <p:cNvSpPr/>
          <p:nvPr userDrawn="1"/>
        </p:nvSpPr>
        <p:spPr>
          <a:xfrm>
            <a:off x="0" y="-14229"/>
            <a:ext cx="4539919" cy="68864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B842E4A9-2EA1-CA39-0C3D-29D0FC1B771F}"/>
              </a:ext>
            </a:extLst>
          </p:cNvPr>
          <p:cNvSpPr/>
          <p:nvPr userDrawn="1"/>
        </p:nvSpPr>
        <p:spPr>
          <a:xfrm>
            <a:off x="4138865" y="2679033"/>
            <a:ext cx="866275" cy="13956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 descr="A purple and blue curves on a black background&#10;&#10;Description automatically generated">
            <a:extLst>
              <a:ext uri="{FF2B5EF4-FFF2-40B4-BE49-F238E27FC236}">
                <a16:creationId xmlns:a16="http://schemas.microsoft.com/office/drawing/2014/main" id="{34FC9E8C-C4C2-3815-F60F-6DA9EA66BD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1026731" y="1346239"/>
            <a:ext cx="7628100" cy="406124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9A34D39-57A3-2391-A0BE-CD83F5079159}"/>
              </a:ext>
            </a:extLst>
          </p:cNvPr>
          <p:cNvSpPr txBox="1"/>
          <p:nvPr userDrawn="1"/>
        </p:nvSpPr>
        <p:spPr>
          <a:xfrm>
            <a:off x="241582" y="6346023"/>
            <a:ext cx="256857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2"/>
                </a:solidFill>
              </a:rPr>
              <a:t>© 2025 </a:t>
            </a:r>
            <a:r>
              <a:rPr lang="en-US" sz="800" err="1">
                <a:solidFill>
                  <a:schemeClr val="tx2"/>
                </a:solidFill>
              </a:rPr>
              <a:t>Cellphire</a:t>
            </a:r>
            <a:r>
              <a:rPr lang="en-US" sz="800">
                <a:solidFill>
                  <a:schemeClr val="tx2"/>
                </a:solidFill>
              </a:rPr>
              <a:t> Therapeutics, Inc. | Confidential    </a:t>
            </a:r>
          </a:p>
        </p:txBody>
      </p:sp>
    </p:spTree>
    <p:extLst>
      <p:ext uri="{BB962C8B-B14F-4D97-AF65-F5344CB8AC3E}">
        <p14:creationId xmlns:p14="http://schemas.microsoft.com/office/powerpoint/2010/main" val="1943980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in a lab coat using a computer&#10;&#10;Description automatically generated">
            <a:extLst>
              <a:ext uri="{FF2B5EF4-FFF2-40B4-BE49-F238E27FC236}">
                <a16:creationId xmlns:a16="http://schemas.microsoft.com/office/drawing/2014/main" id="{EEE3BA7A-CF0E-6E80-EB8A-EBB99FE9F5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529391" y="1"/>
            <a:ext cx="11662609" cy="687222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B90F773-CA5B-F854-1748-520AA1B29E19}"/>
              </a:ext>
            </a:extLst>
          </p:cNvPr>
          <p:cNvSpPr/>
          <p:nvPr userDrawn="1"/>
        </p:nvSpPr>
        <p:spPr>
          <a:xfrm>
            <a:off x="0" y="-14229"/>
            <a:ext cx="4539919" cy="68864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3EACAC8-ACE8-BA96-98D6-D449D2EABE51}"/>
              </a:ext>
            </a:extLst>
          </p:cNvPr>
          <p:cNvSpPr/>
          <p:nvPr userDrawn="1"/>
        </p:nvSpPr>
        <p:spPr>
          <a:xfrm>
            <a:off x="4138865" y="2679033"/>
            <a:ext cx="866275" cy="13956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10" name="Picture 9" descr="A purple and blue curves on a black background&#10;&#10;Description automatically generated">
            <a:extLst>
              <a:ext uri="{FF2B5EF4-FFF2-40B4-BE49-F238E27FC236}">
                <a16:creationId xmlns:a16="http://schemas.microsoft.com/office/drawing/2014/main" id="{D7FA0BFD-B149-B85D-D396-4BA5FBBD55B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1026731" y="1346239"/>
            <a:ext cx="7628100" cy="406124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1D1D97A-2CF5-CBCB-9AD3-51AC7302F85C}"/>
              </a:ext>
            </a:extLst>
          </p:cNvPr>
          <p:cNvSpPr txBox="1"/>
          <p:nvPr userDrawn="1"/>
        </p:nvSpPr>
        <p:spPr>
          <a:xfrm>
            <a:off x="241582" y="6346023"/>
            <a:ext cx="256857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2"/>
                </a:solidFill>
              </a:rPr>
              <a:t>© 2025 </a:t>
            </a:r>
            <a:r>
              <a:rPr lang="en-US" sz="800" err="1">
                <a:solidFill>
                  <a:schemeClr val="tx2"/>
                </a:solidFill>
              </a:rPr>
              <a:t>Cellphire</a:t>
            </a:r>
            <a:r>
              <a:rPr lang="en-US" sz="800">
                <a:solidFill>
                  <a:schemeClr val="tx2"/>
                </a:solidFill>
              </a:rPr>
              <a:t> Therapeutics, Inc. | Confidential    </a:t>
            </a:r>
          </a:p>
        </p:txBody>
      </p:sp>
    </p:spTree>
    <p:extLst>
      <p:ext uri="{BB962C8B-B14F-4D97-AF65-F5344CB8AC3E}">
        <p14:creationId xmlns:p14="http://schemas.microsoft.com/office/powerpoint/2010/main" val="3137627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oup of people in a room&#10;&#10;Description automatically generated">
            <a:extLst>
              <a:ext uri="{FF2B5EF4-FFF2-40B4-BE49-F238E27FC236}">
                <a16:creationId xmlns:a16="http://schemas.microsoft.com/office/drawing/2014/main" id="{A7DD1978-8702-96D1-A2D6-A708BB6761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5340" y="-28456"/>
            <a:ext cx="7516661" cy="688645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285115E-0A2C-98E1-5D57-7D78F1F829CD}"/>
              </a:ext>
            </a:extLst>
          </p:cNvPr>
          <p:cNvSpPr/>
          <p:nvPr userDrawn="1"/>
        </p:nvSpPr>
        <p:spPr>
          <a:xfrm>
            <a:off x="0" y="-14229"/>
            <a:ext cx="4539919" cy="68864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6AD28E5-78AC-2558-5532-09FF8A1FEE1D}"/>
              </a:ext>
            </a:extLst>
          </p:cNvPr>
          <p:cNvSpPr/>
          <p:nvPr userDrawn="1"/>
        </p:nvSpPr>
        <p:spPr>
          <a:xfrm>
            <a:off x="4138865" y="2679033"/>
            <a:ext cx="866275" cy="13956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8" name="Picture 7" descr="A purple and blue curves on a black background&#10;&#10;Description automatically generated">
            <a:extLst>
              <a:ext uri="{FF2B5EF4-FFF2-40B4-BE49-F238E27FC236}">
                <a16:creationId xmlns:a16="http://schemas.microsoft.com/office/drawing/2014/main" id="{F8E68455-CA32-E2F6-D311-C8C2DF545A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1026731" y="1346239"/>
            <a:ext cx="7628100" cy="406124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BF52727-0CEA-E25F-8127-067259AA4795}"/>
              </a:ext>
            </a:extLst>
          </p:cNvPr>
          <p:cNvSpPr txBox="1"/>
          <p:nvPr userDrawn="1"/>
        </p:nvSpPr>
        <p:spPr>
          <a:xfrm>
            <a:off x="241582" y="6346023"/>
            <a:ext cx="256857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2"/>
                </a:solidFill>
              </a:rPr>
              <a:t>© 2025 </a:t>
            </a:r>
            <a:r>
              <a:rPr lang="en-US" sz="800" err="1">
                <a:solidFill>
                  <a:schemeClr val="tx2"/>
                </a:solidFill>
              </a:rPr>
              <a:t>Cellphire</a:t>
            </a:r>
            <a:r>
              <a:rPr lang="en-US" sz="800">
                <a:solidFill>
                  <a:schemeClr val="tx2"/>
                </a:solidFill>
              </a:rPr>
              <a:t> Therapeutics, Inc. | Confidential    </a:t>
            </a:r>
          </a:p>
        </p:txBody>
      </p:sp>
    </p:spTree>
    <p:extLst>
      <p:ext uri="{BB962C8B-B14F-4D97-AF65-F5344CB8AC3E}">
        <p14:creationId xmlns:p14="http://schemas.microsoft.com/office/powerpoint/2010/main" val="32954939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4508FC-5AE1-6C2F-2494-339BAD5ED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63A228-3F65-F6A5-E0E1-D5A732FEF16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2965" y="1825625"/>
            <a:ext cx="11090835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E61A662-02CD-C4E2-460A-EF270EB8C7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7905" y="6074845"/>
            <a:ext cx="398929" cy="365125"/>
          </a:xfrm>
        </p:spPr>
        <p:txBody>
          <a:bodyPr/>
          <a:lstStyle/>
          <a:p>
            <a:fld id="{F191C7FB-7256-45AB-8545-0DD6B0B3F0D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786694"/>
      </p:ext>
    </p:extLst>
  </p:cSld>
  <p:clrMapOvr>
    <a:masterClrMapping/>
  </p:clrMapOvr>
  <p:hf hd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lose-up of a medical bag&#10;&#10;Description automatically generated">
            <a:extLst>
              <a:ext uri="{FF2B5EF4-FFF2-40B4-BE49-F238E27FC236}">
                <a16:creationId xmlns:a16="http://schemas.microsoft.com/office/drawing/2014/main" id="{554882F7-5782-CDA8-B733-187116DE1F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5338" y="-14229"/>
            <a:ext cx="8379755" cy="6886457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7190E5F-4B5D-8014-C21E-9DA99BD0C087}"/>
              </a:ext>
            </a:extLst>
          </p:cNvPr>
          <p:cNvSpPr/>
          <p:nvPr userDrawn="1"/>
        </p:nvSpPr>
        <p:spPr>
          <a:xfrm>
            <a:off x="0" y="-14229"/>
            <a:ext cx="4539919" cy="68864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464588F-0F0C-FECA-8B9B-96F0C584A254}"/>
              </a:ext>
            </a:extLst>
          </p:cNvPr>
          <p:cNvSpPr/>
          <p:nvPr userDrawn="1"/>
        </p:nvSpPr>
        <p:spPr>
          <a:xfrm>
            <a:off x="4138865" y="2679033"/>
            <a:ext cx="866275" cy="13956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10" name="Picture 9" descr="A purple and blue curves on a black background&#10;&#10;Description automatically generated">
            <a:extLst>
              <a:ext uri="{FF2B5EF4-FFF2-40B4-BE49-F238E27FC236}">
                <a16:creationId xmlns:a16="http://schemas.microsoft.com/office/drawing/2014/main" id="{D527E4DE-A5AE-CF4C-41EA-4827A43C85A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1026731" y="1346239"/>
            <a:ext cx="7628100" cy="406124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84DEDD9-32D6-5E51-D9A3-57BCDC38E6C4}"/>
              </a:ext>
            </a:extLst>
          </p:cNvPr>
          <p:cNvSpPr txBox="1"/>
          <p:nvPr userDrawn="1"/>
        </p:nvSpPr>
        <p:spPr>
          <a:xfrm>
            <a:off x="241582" y="6346023"/>
            <a:ext cx="256857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2"/>
                </a:solidFill>
              </a:rPr>
              <a:t>© 2025 </a:t>
            </a:r>
            <a:r>
              <a:rPr lang="en-US" sz="800" err="1">
                <a:solidFill>
                  <a:schemeClr val="tx2"/>
                </a:solidFill>
              </a:rPr>
              <a:t>Cellphire</a:t>
            </a:r>
            <a:r>
              <a:rPr lang="en-US" sz="800">
                <a:solidFill>
                  <a:schemeClr val="tx2"/>
                </a:solidFill>
              </a:rPr>
              <a:t> Therapeutics, Inc. | Confidential    </a:t>
            </a:r>
          </a:p>
        </p:txBody>
      </p:sp>
    </p:spTree>
    <p:extLst>
      <p:ext uri="{BB962C8B-B14F-4D97-AF65-F5344CB8AC3E}">
        <p14:creationId xmlns:p14="http://schemas.microsoft.com/office/powerpoint/2010/main" val="2088153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doctor talking to a patient&#10;&#10;Description automatically generated">
            <a:extLst>
              <a:ext uri="{FF2B5EF4-FFF2-40B4-BE49-F238E27FC236}">
                <a16:creationId xmlns:a16="http://schemas.microsoft.com/office/drawing/2014/main" id="{0AAA53A3-6A30-298B-0698-636B62CBC9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67618" y="-14229"/>
            <a:ext cx="8752765" cy="6886457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7190E5F-4B5D-8014-C21E-9DA99BD0C087}"/>
              </a:ext>
            </a:extLst>
          </p:cNvPr>
          <p:cNvSpPr/>
          <p:nvPr userDrawn="1"/>
        </p:nvSpPr>
        <p:spPr>
          <a:xfrm>
            <a:off x="0" y="-14229"/>
            <a:ext cx="4539919" cy="68864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464588F-0F0C-FECA-8B9B-96F0C584A254}"/>
              </a:ext>
            </a:extLst>
          </p:cNvPr>
          <p:cNvSpPr/>
          <p:nvPr userDrawn="1"/>
        </p:nvSpPr>
        <p:spPr>
          <a:xfrm>
            <a:off x="4138865" y="2679033"/>
            <a:ext cx="866275" cy="13956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10" name="Picture 9" descr="A purple and blue curves on a black background&#10;&#10;Description automatically generated">
            <a:extLst>
              <a:ext uri="{FF2B5EF4-FFF2-40B4-BE49-F238E27FC236}">
                <a16:creationId xmlns:a16="http://schemas.microsoft.com/office/drawing/2014/main" id="{D527E4DE-A5AE-CF4C-41EA-4827A43C85A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1010078" y="1362890"/>
            <a:ext cx="7661403" cy="406124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72FE8C4-5811-2B79-5CDA-020597707E52}"/>
              </a:ext>
            </a:extLst>
          </p:cNvPr>
          <p:cNvSpPr txBox="1"/>
          <p:nvPr userDrawn="1"/>
        </p:nvSpPr>
        <p:spPr>
          <a:xfrm>
            <a:off x="241582" y="6346023"/>
            <a:ext cx="256857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2"/>
                </a:solidFill>
              </a:rPr>
              <a:t>© 2025 </a:t>
            </a:r>
            <a:r>
              <a:rPr lang="en-US" sz="800" err="1">
                <a:solidFill>
                  <a:schemeClr val="tx2"/>
                </a:solidFill>
              </a:rPr>
              <a:t>Cellphire</a:t>
            </a:r>
            <a:r>
              <a:rPr lang="en-US" sz="800">
                <a:solidFill>
                  <a:schemeClr val="tx2"/>
                </a:solidFill>
              </a:rPr>
              <a:t> Therapeutics, Inc. | Confidential    </a:t>
            </a:r>
          </a:p>
        </p:txBody>
      </p:sp>
    </p:spTree>
    <p:extLst>
      <p:ext uri="{BB962C8B-B14F-4D97-AF65-F5344CB8AC3E}">
        <p14:creationId xmlns:p14="http://schemas.microsoft.com/office/powerpoint/2010/main" val="10464380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thout Non-confidenti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3717" y="286788"/>
            <a:ext cx="11051459" cy="369332"/>
          </a:xfrm>
        </p:spPr>
        <p:txBody>
          <a:bodyPr/>
          <a:lstStyle>
            <a:lvl1pPr>
              <a:lnSpc>
                <a:spcPct val="100000"/>
              </a:lnSpc>
              <a:defRPr sz="2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3717" y="1493292"/>
            <a:ext cx="11051459" cy="4673600"/>
          </a:xfrm>
          <a:prstGeom prst="rect">
            <a:avLst/>
          </a:prstGeom>
        </p:spPr>
        <p:txBody>
          <a:bodyPr/>
          <a:lstStyle>
            <a:lvl1pPr>
              <a:defRPr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4pPr>
            <a:lvl5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fld id="{F82AA240-EF9F-46CE-9076-02F2D9E7E2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08B778-17D5-23A6-FDDB-D4D391B1BA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716" y="749013"/>
            <a:ext cx="11051459" cy="36933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F76EBC7-C409-4C9F-D031-A89CBBB74D40}"/>
              </a:ext>
            </a:extLst>
          </p:cNvPr>
          <p:cNvSpPr txBox="1"/>
          <p:nvPr userDrawn="1"/>
        </p:nvSpPr>
        <p:spPr>
          <a:xfrm>
            <a:off x="8675161" y="6473020"/>
            <a:ext cx="256857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2"/>
                </a:solidFill>
              </a:rPr>
              <a:t>© 2025 </a:t>
            </a:r>
            <a:r>
              <a:rPr lang="en-US" sz="800" err="1">
                <a:solidFill>
                  <a:schemeClr val="tx2"/>
                </a:solidFill>
              </a:rPr>
              <a:t>Cellphire</a:t>
            </a:r>
            <a:r>
              <a:rPr lang="en-US" sz="800">
                <a:solidFill>
                  <a:schemeClr val="tx2"/>
                </a:solidFill>
              </a:rPr>
              <a:t> Therapeutics, Inc. | Confidential    </a:t>
            </a:r>
          </a:p>
        </p:txBody>
      </p:sp>
    </p:spTree>
    <p:extLst>
      <p:ext uri="{BB962C8B-B14F-4D97-AF65-F5344CB8AC3E}">
        <p14:creationId xmlns:p14="http://schemas.microsoft.com/office/powerpoint/2010/main" val="1923359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 not remove" hidden="1">
            <a:extLst>
              <a:ext uri="{FF2B5EF4-FFF2-40B4-BE49-F238E27FC236}">
                <a16:creationId xmlns:a16="http://schemas.microsoft.com/office/drawing/2014/main" id="{8DEDA4F8-D548-20B3-8D5A-B587668BFFA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9933" y="339177"/>
            <a:ext cx="10838577" cy="369332"/>
          </a:xfrm>
        </p:spPr>
        <p:txBody>
          <a:bodyPr/>
          <a:lstStyle>
            <a:lvl1pPr>
              <a:defRPr sz="2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9933" y="893759"/>
            <a:ext cx="9608192" cy="46736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67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840EFBA-2280-27DD-86F1-E8C83D41EA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4887" y="6488410"/>
            <a:ext cx="330549" cy="184665"/>
          </a:xfrm>
        </p:spPr>
        <p:txBody>
          <a:bodyPr/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fld id="{F82AA240-EF9F-46CE-9076-02F2D9E7E2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D0C5976-08FC-D769-5AFC-F544DE9F30C5}"/>
              </a:ext>
            </a:extLst>
          </p:cNvPr>
          <p:cNvSpPr txBox="1"/>
          <p:nvPr userDrawn="1"/>
        </p:nvSpPr>
        <p:spPr>
          <a:xfrm>
            <a:off x="8675161" y="6473020"/>
            <a:ext cx="256857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2"/>
                </a:solidFill>
                <a:latin typeface="+mn-lt"/>
              </a:rPr>
              <a:t>© 2025 </a:t>
            </a:r>
            <a:r>
              <a:rPr lang="en-US" sz="800" err="1">
                <a:solidFill>
                  <a:schemeClr val="tx2"/>
                </a:solidFill>
                <a:latin typeface="+mn-lt"/>
              </a:rPr>
              <a:t>Cellphire</a:t>
            </a:r>
            <a:r>
              <a:rPr lang="en-US" sz="800">
                <a:solidFill>
                  <a:schemeClr val="tx2"/>
                </a:solidFill>
                <a:latin typeface="+mn-lt"/>
              </a:rPr>
              <a:t> Therapeutics, Inc. | Confidential    </a:t>
            </a:r>
          </a:p>
        </p:txBody>
      </p:sp>
    </p:spTree>
    <p:extLst>
      <p:ext uri="{BB962C8B-B14F-4D97-AF65-F5344CB8AC3E}">
        <p14:creationId xmlns:p14="http://schemas.microsoft.com/office/powerpoint/2010/main" val="114956902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3717" y="324890"/>
            <a:ext cx="11051459" cy="369332"/>
          </a:xfrm>
        </p:spPr>
        <p:txBody>
          <a:bodyPr/>
          <a:lstStyle>
            <a:lvl1pPr>
              <a:lnSpc>
                <a:spcPct val="100000"/>
              </a:lnSpc>
              <a:defRPr sz="2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fld id="{F82AA240-EF9F-46CE-9076-02F2D9E7E2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08B778-17D5-23A6-FDDB-D4D391B1BA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716" y="796639"/>
            <a:ext cx="11051459" cy="36933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1E442B7-B51F-F585-2AE8-DE0007EB53D2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63715" y="1229432"/>
            <a:ext cx="11051459" cy="4673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2200" b="1" kern="1200" dirty="0">
                <a:solidFill>
                  <a:schemeClr val="bg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  <a:lvl2pPr>
              <a:defRPr lang="en-US" sz="1900" dirty="0">
                <a:latin typeface="Aptos" panose="020B0004020202020204" pitchFamily="34" charset="0"/>
              </a:defRPr>
            </a:lvl2pPr>
            <a:lvl3pPr>
              <a:defRPr lang="en-US" sz="1700" dirty="0">
                <a:latin typeface="Aptos" panose="020B0004020202020204" pitchFamily="34" charset="0"/>
              </a:defRPr>
            </a:lvl3pPr>
            <a:lvl4pPr>
              <a:defRPr lang="en-US" dirty="0">
                <a:latin typeface="Aptos" panose="020B0004020202020204" pitchFamily="34" charset="0"/>
              </a:defRPr>
            </a:lvl4pPr>
            <a:lvl5pPr>
              <a:defRPr lang="en-US" dirty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C7816A-EB41-91CB-1A42-CEB7AF464680}"/>
              </a:ext>
            </a:extLst>
          </p:cNvPr>
          <p:cNvSpPr txBox="1"/>
          <p:nvPr userDrawn="1"/>
        </p:nvSpPr>
        <p:spPr>
          <a:xfrm>
            <a:off x="8675161" y="6473020"/>
            <a:ext cx="256857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2"/>
                </a:solidFill>
              </a:rPr>
              <a:t>© 2025 </a:t>
            </a:r>
            <a:r>
              <a:rPr lang="en-US" sz="800" err="1">
                <a:solidFill>
                  <a:schemeClr val="tx2"/>
                </a:solidFill>
              </a:rPr>
              <a:t>Cellphire</a:t>
            </a:r>
            <a:r>
              <a:rPr lang="en-US" sz="800">
                <a:solidFill>
                  <a:schemeClr val="tx2"/>
                </a:solidFill>
              </a:rPr>
              <a:t> Therapeutics, Inc. | Confidential    </a:t>
            </a:r>
          </a:p>
        </p:txBody>
      </p:sp>
    </p:spTree>
    <p:extLst>
      <p:ext uri="{BB962C8B-B14F-4D97-AF65-F5344CB8AC3E}">
        <p14:creationId xmlns:p14="http://schemas.microsoft.com/office/powerpoint/2010/main" val="1562642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088AB7B8-50C3-1C70-0FD4-CA362E21A1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9300" y="6306628"/>
            <a:ext cx="8017328" cy="184665"/>
          </a:xfrm>
        </p:spPr>
        <p:txBody>
          <a:bodyPr anchor="t" anchorCtr="0"/>
          <a:lstStyle>
            <a:lvl1pPr>
              <a:lnSpc>
                <a:spcPct val="100000"/>
              </a:lnSpc>
              <a:defRPr sz="800" b="0">
                <a:solidFill>
                  <a:srgbClr val="000000"/>
                </a:solidFill>
              </a:defRPr>
            </a:lvl1pPr>
            <a:lvl2pPr>
              <a:lnSpc>
                <a:spcPct val="100000"/>
              </a:lnSpc>
              <a:defRPr sz="1067"/>
            </a:lvl2pPr>
            <a:lvl3pPr>
              <a:lnSpc>
                <a:spcPct val="100000"/>
              </a:lnSpc>
              <a:defRPr sz="1067"/>
            </a:lvl3pPr>
            <a:lvl4pPr>
              <a:lnSpc>
                <a:spcPct val="100000"/>
              </a:lnSpc>
              <a:defRPr sz="1067"/>
            </a:lvl4pPr>
            <a:lvl5pPr>
              <a:lnSpc>
                <a:spcPct val="100000"/>
              </a:lnSpc>
              <a:defRPr sz="1067"/>
            </a:lvl5pPr>
          </a:lstStyle>
          <a:p>
            <a:pPr lvl="0"/>
            <a:r>
              <a:rPr lang="en-US"/>
              <a:t>Sources and footnotes</a:t>
            </a:r>
          </a:p>
        </p:txBody>
      </p:sp>
    </p:spTree>
    <p:extLst>
      <p:ext uri="{BB962C8B-B14F-4D97-AF65-F5344CB8AC3E}">
        <p14:creationId xmlns:p14="http://schemas.microsoft.com/office/powerpoint/2010/main" val="2503512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rgbClr val="5A5A5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703844354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n-Confidenti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3717" y="496342"/>
            <a:ext cx="11051459" cy="369332"/>
          </a:xfrm>
        </p:spPr>
        <p:txBody>
          <a:bodyPr/>
          <a:lstStyle>
            <a:lvl1pPr>
              <a:lnSpc>
                <a:spcPct val="100000"/>
              </a:lnSpc>
              <a:defRPr sz="2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3717" y="1493292"/>
            <a:ext cx="11051459" cy="4673600"/>
          </a:xfrm>
          <a:prstGeom prst="rect">
            <a:avLst/>
          </a:prstGeom>
        </p:spPr>
        <p:txBody>
          <a:bodyPr/>
          <a:lstStyle>
            <a:lvl1pPr>
              <a:defRPr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4pPr>
            <a:lvl5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fld id="{F82AA240-EF9F-46CE-9076-02F2D9E7E2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08B778-17D5-23A6-FDDB-D4D391B1BA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716" y="938193"/>
            <a:ext cx="11051459" cy="36933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E95272E-459D-41B4-D8FC-5BC5AC8CC5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1829" y="6488409"/>
            <a:ext cx="8522291" cy="194739"/>
          </a:xfrm>
        </p:spPr>
        <p:txBody>
          <a:bodyPr anchor="ctr" anchorCtr="0"/>
          <a:lstStyle>
            <a:lvl1pPr>
              <a:lnSpc>
                <a:spcPct val="100000"/>
              </a:lnSpc>
              <a:defRPr sz="800" b="0">
                <a:solidFill>
                  <a:srgbClr val="000000"/>
                </a:solidFill>
              </a:defRPr>
            </a:lvl1pPr>
            <a:lvl2pPr>
              <a:lnSpc>
                <a:spcPct val="100000"/>
              </a:lnSpc>
              <a:defRPr sz="1067"/>
            </a:lvl2pPr>
            <a:lvl3pPr>
              <a:lnSpc>
                <a:spcPct val="100000"/>
              </a:lnSpc>
              <a:defRPr sz="1067"/>
            </a:lvl3pPr>
            <a:lvl4pPr>
              <a:lnSpc>
                <a:spcPct val="100000"/>
              </a:lnSpc>
              <a:defRPr sz="1067"/>
            </a:lvl4pPr>
            <a:lvl5pPr>
              <a:lnSpc>
                <a:spcPct val="100000"/>
              </a:lnSpc>
              <a:defRPr sz="1067"/>
            </a:lvl5pPr>
          </a:lstStyle>
          <a:p>
            <a:pPr lvl="0"/>
            <a:r>
              <a:rPr lang="en-US"/>
              <a:t>Sources and footnot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C363C2D-9BE0-2F36-248E-E50853D6F824}"/>
              </a:ext>
            </a:extLst>
          </p:cNvPr>
          <p:cNvSpPr txBox="1"/>
          <p:nvPr userDrawn="1"/>
        </p:nvSpPr>
        <p:spPr>
          <a:xfrm>
            <a:off x="10100334" y="6488409"/>
            <a:ext cx="1701205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70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470117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3717" y="496342"/>
            <a:ext cx="11051459" cy="369332"/>
          </a:xfrm>
        </p:spPr>
        <p:txBody>
          <a:bodyPr/>
          <a:lstStyle>
            <a:lvl1pPr>
              <a:lnSpc>
                <a:spcPct val="100000"/>
              </a:lnSpc>
              <a:defRPr sz="2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3717" y="1493292"/>
            <a:ext cx="11051459" cy="4673600"/>
          </a:xfrm>
          <a:prstGeom prst="rect">
            <a:avLst/>
          </a:prstGeom>
        </p:spPr>
        <p:txBody>
          <a:bodyPr/>
          <a:lstStyle>
            <a:lvl1pPr>
              <a:defRPr sz="2133"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>
              <a:defRPr sz="2133">
                <a:solidFill>
                  <a:schemeClr val="tx2"/>
                </a:solidFill>
                <a:latin typeface="Aptos" panose="020B0004020202020204" pitchFamily="34" charset="0"/>
              </a:defRPr>
            </a:lvl2pPr>
            <a:lvl3pPr>
              <a:defRPr sz="2133">
                <a:solidFill>
                  <a:schemeClr val="tx2"/>
                </a:solidFill>
                <a:latin typeface="Aptos" panose="020B0004020202020204" pitchFamily="34" charset="0"/>
              </a:defRPr>
            </a:lvl3pPr>
            <a:lvl4pPr>
              <a:defRPr sz="2133">
                <a:solidFill>
                  <a:schemeClr val="tx2"/>
                </a:solidFill>
                <a:latin typeface="Aptos" panose="020B0004020202020204" pitchFamily="34" charset="0"/>
              </a:defRPr>
            </a:lvl4pPr>
            <a:lvl5pPr>
              <a:defRPr sz="2133">
                <a:solidFill>
                  <a:schemeClr val="tx2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fld id="{F82AA240-EF9F-46CE-9076-02F2D9E7E2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08B778-17D5-23A6-FDDB-D4D391B1BA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716" y="929993"/>
            <a:ext cx="11051459" cy="36933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8EE92E-6375-E3AE-69E2-B53276507A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2404" y="6488409"/>
            <a:ext cx="6310606" cy="184665"/>
          </a:xfrm>
        </p:spPr>
        <p:txBody>
          <a:bodyPr anchor="ctr" anchorCtr="0"/>
          <a:lstStyle>
            <a:lvl1pPr>
              <a:lnSpc>
                <a:spcPct val="100000"/>
              </a:lnSpc>
              <a:defRPr sz="800" b="0">
                <a:solidFill>
                  <a:srgbClr val="000000"/>
                </a:solidFill>
              </a:defRPr>
            </a:lvl1pPr>
            <a:lvl2pPr>
              <a:lnSpc>
                <a:spcPct val="100000"/>
              </a:lnSpc>
              <a:defRPr sz="1067"/>
            </a:lvl2pPr>
            <a:lvl3pPr>
              <a:lnSpc>
                <a:spcPct val="100000"/>
              </a:lnSpc>
              <a:defRPr sz="1067"/>
            </a:lvl3pPr>
            <a:lvl4pPr>
              <a:lnSpc>
                <a:spcPct val="100000"/>
              </a:lnSpc>
              <a:defRPr sz="1067"/>
            </a:lvl4pPr>
            <a:lvl5pPr>
              <a:lnSpc>
                <a:spcPct val="100000"/>
              </a:lnSpc>
              <a:defRPr sz="1067"/>
            </a:lvl5pPr>
          </a:lstStyle>
          <a:p>
            <a:pPr lvl="0"/>
            <a:r>
              <a:rPr lang="en-US"/>
              <a:t>Sources and footnot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2B5AD87-31F0-158E-589A-0A6733722E4B}"/>
              </a:ext>
            </a:extLst>
          </p:cNvPr>
          <p:cNvSpPr txBox="1"/>
          <p:nvPr userDrawn="1"/>
        </p:nvSpPr>
        <p:spPr>
          <a:xfrm>
            <a:off x="9965357" y="6488409"/>
            <a:ext cx="144423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545859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140164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lick To Edit Master Title Style"/>
          <p:cNvSpPr txBox="1"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15" name="Body Level One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Click to edit master text styles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563715" y="891892"/>
            <a:ext cx="11051461" cy="369333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t>Click to edit master text styles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49299" y="6306625"/>
            <a:ext cx="8017331" cy="18466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800" b="0"/>
            </a:lvl1pPr>
          </a:lstStyle>
          <a:p>
            <a:r>
              <a:t>Sources and footnotes</a:t>
            </a:r>
          </a:p>
        </p:txBody>
      </p:sp>
    </p:spTree>
    <p:extLst>
      <p:ext uri="{BB962C8B-B14F-4D97-AF65-F5344CB8AC3E}">
        <p14:creationId xmlns:p14="http://schemas.microsoft.com/office/powerpoint/2010/main" val="58287876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4508FC-5AE1-6C2F-2494-339BAD5ED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63A228-3F65-F6A5-E0E1-D5A732FEF16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451ABF0-7F56-F34A-88E6-4C8E7A15F2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E61A662-02CD-C4E2-460A-EF270EB8C7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7905" y="6074845"/>
            <a:ext cx="398929" cy="365125"/>
          </a:xfrm>
        </p:spPr>
        <p:txBody>
          <a:bodyPr/>
          <a:lstStyle/>
          <a:p>
            <a:fld id="{F191C7FB-7256-45AB-8545-0DD6B0B3F0D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835958"/>
      </p:ext>
    </p:extLst>
  </p:cSld>
  <p:clrMapOvr>
    <a:masterClrMapping/>
  </p:clrMapOvr>
  <p:hf hdr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3717" y="496342"/>
            <a:ext cx="11051459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3717" y="1493292"/>
            <a:ext cx="11051459" cy="4673600"/>
          </a:xfrm>
          <a:prstGeom prst="rect">
            <a:avLst/>
          </a:prstGeom>
        </p:spPr>
        <p:txBody>
          <a:bodyPr/>
          <a:lstStyle>
            <a:lvl1pPr>
              <a:defRPr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4pPr>
            <a:lvl5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AA240-EF9F-46CE-9076-02F2D9E7E27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08B778-17D5-23A6-FDDB-D4D391B1BA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716" y="891893"/>
            <a:ext cx="11051459" cy="369332"/>
          </a:xfrm>
          <a:prstGeom prst="rect">
            <a:avLst/>
          </a:prstGeom>
        </p:spPr>
        <p:txBody>
          <a:bodyPr/>
          <a:lstStyle>
            <a:lvl1pPr>
              <a:defRPr sz="1867"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8EE92E-6375-E3AE-69E2-B53276507A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9300" y="6306628"/>
            <a:ext cx="8017328" cy="184665"/>
          </a:xfrm>
        </p:spPr>
        <p:txBody>
          <a:bodyPr anchor="t" anchorCtr="0"/>
          <a:lstStyle>
            <a:lvl1pPr>
              <a:lnSpc>
                <a:spcPct val="100000"/>
              </a:lnSpc>
              <a:defRPr sz="800" b="0">
                <a:solidFill>
                  <a:srgbClr val="000000"/>
                </a:solidFill>
              </a:defRPr>
            </a:lvl1pPr>
            <a:lvl2pPr>
              <a:lnSpc>
                <a:spcPct val="100000"/>
              </a:lnSpc>
              <a:defRPr sz="1067"/>
            </a:lvl2pPr>
            <a:lvl3pPr>
              <a:lnSpc>
                <a:spcPct val="100000"/>
              </a:lnSpc>
              <a:defRPr sz="1067"/>
            </a:lvl3pPr>
            <a:lvl4pPr>
              <a:lnSpc>
                <a:spcPct val="100000"/>
              </a:lnSpc>
              <a:defRPr sz="1067"/>
            </a:lvl4pPr>
            <a:lvl5pPr>
              <a:lnSpc>
                <a:spcPct val="100000"/>
              </a:lnSpc>
              <a:defRPr sz="1067"/>
            </a:lvl5pPr>
          </a:lstStyle>
          <a:p>
            <a:pPr lvl="0"/>
            <a:r>
              <a:rPr lang="en-US"/>
              <a:t>Sources and footnotes</a:t>
            </a:r>
          </a:p>
        </p:txBody>
      </p:sp>
    </p:spTree>
    <p:extLst>
      <p:ext uri="{BB962C8B-B14F-4D97-AF65-F5344CB8AC3E}">
        <p14:creationId xmlns:p14="http://schemas.microsoft.com/office/powerpoint/2010/main" val="30805345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36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3717" y="496342"/>
            <a:ext cx="11051459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3717" y="1493292"/>
            <a:ext cx="11051459" cy="4673600"/>
          </a:xfrm>
          <a:prstGeom prst="rect">
            <a:avLst/>
          </a:prstGeom>
        </p:spPr>
        <p:txBody>
          <a:bodyPr/>
          <a:lstStyle>
            <a:lvl1pPr>
              <a:defRPr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4pPr>
            <a:lvl5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AA240-EF9F-46CE-9076-02F2D9E7E27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08B778-17D5-23A6-FDDB-D4D391B1BA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716" y="891893"/>
            <a:ext cx="11051459" cy="369332"/>
          </a:xfrm>
          <a:prstGeom prst="rect">
            <a:avLst/>
          </a:prstGeom>
        </p:spPr>
        <p:txBody>
          <a:bodyPr/>
          <a:lstStyle>
            <a:lvl1pPr>
              <a:defRPr sz="1867"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8EE92E-6375-E3AE-69E2-B53276507A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9300" y="6306628"/>
            <a:ext cx="8017328" cy="184665"/>
          </a:xfrm>
        </p:spPr>
        <p:txBody>
          <a:bodyPr anchor="t" anchorCtr="0"/>
          <a:lstStyle>
            <a:lvl1pPr>
              <a:lnSpc>
                <a:spcPct val="100000"/>
              </a:lnSpc>
              <a:defRPr sz="800" b="0">
                <a:solidFill>
                  <a:srgbClr val="000000"/>
                </a:solidFill>
              </a:defRPr>
            </a:lvl1pPr>
            <a:lvl2pPr>
              <a:lnSpc>
                <a:spcPct val="100000"/>
              </a:lnSpc>
              <a:defRPr sz="1067"/>
            </a:lvl2pPr>
            <a:lvl3pPr>
              <a:lnSpc>
                <a:spcPct val="100000"/>
              </a:lnSpc>
              <a:defRPr sz="1067"/>
            </a:lvl3pPr>
            <a:lvl4pPr>
              <a:lnSpc>
                <a:spcPct val="100000"/>
              </a:lnSpc>
              <a:defRPr sz="1067"/>
            </a:lvl4pPr>
            <a:lvl5pPr>
              <a:lnSpc>
                <a:spcPct val="100000"/>
              </a:lnSpc>
              <a:defRPr sz="1067"/>
            </a:lvl5pPr>
          </a:lstStyle>
          <a:p>
            <a:pPr lvl="0"/>
            <a:r>
              <a:rPr lang="en-US"/>
              <a:t>Sources and footnotes</a:t>
            </a:r>
          </a:p>
        </p:txBody>
      </p:sp>
    </p:spTree>
    <p:extLst>
      <p:ext uri="{BB962C8B-B14F-4D97-AF65-F5344CB8AC3E}">
        <p14:creationId xmlns:p14="http://schemas.microsoft.com/office/powerpoint/2010/main" val="13157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36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ellphire, Inc.   Confidential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AA240-EF9F-46CE-9076-02F2D9E7E2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37172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3DA9E6C-6EC5-9DB3-C2EA-904175D2E6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188913"/>
            <a:ext cx="11160120" cy="719137"/>
          </a:xfrm>
        </p:spPr>
        <p:txBody>
          <a:bodyPr/>
          <a:lstStyle>
            <a:lvl1pPr>
              <a:defRPr sz="2400" b="1">
                <a:solidFill>
                  <a:srgbClr val="3C60AF"/>
                </a:solidFill>
                <a:latin typeface="+mj-lt"/>
              </a:defRPr>
            </a:lvl1pPr>
          </a:lstStyle>
          <a:p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74679EE-4A14-C1EE-5869-A40E8B2A70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737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3717" y="334416"/>
            <a:ext cx="11051459" cy="369332"/>
          </a:xfrm>
        </p:spPr>
        <p:txBody>
          <a:bodyPr/>
          <a:lstStyle>
            <a:lvl1pPr>
              <a:lnSpc>
                <a:spcPct val="100000"/>
              </a:lnSpc>
              <a:defRPr sz="2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3717" y="1278973"/>
            <a:ext cx="11051459" cy="4673600"/>
          </a:xfrm>
          <a:prstGeom prst="rect">
            <a:avLst/>
          </a:prstGeom>
        </p:spPr>
        <p:txBody>
          <a:bodyPr/>
          <a:lstStyle>
            <a:lvl1pPr>
              <a:defRPr sz="2133"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>
              <a:defRPr sz="2133">
                <a:solidFill>
                  <a:schemeClr val="tx2"/>
                </a:solidFill>
                <a:latin typeface="Aptos" panose="020B0004020202020204" pitchFamily="34" charset="0"/>
              </a:defRPr>
            </a:lvl2pPr>
            <a:lvl3pPr>
              <a:defRPr sz="2133">
                <a:solidFill>
                  <a:schemeClr val="tx2"/>
                </a:solidFill>
                <a:latin typeface="Aptos" panose="020B0004020202020204" pitchFamily="34" charset="0"/>
              </a:defRPr>
            </a:lvl3pPr>
            <a:lvl4pPr>
              <a:defRPr sz="2133">
                <a:solidFill>
                  <a:schemeClr val="tx2"/>
                </a:solidFill>
                <a:latin typeface="Aptos" panose="020B0004020202020204" pitchFamily="34" charset="0"/>
              </a:defRPr>
            </a:lvl4pPr>
            <a:lvl5pPr>
              <a:defRPr sz="2133">
                <a:solidFill>
                  <a:schemeClr val="tx2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fld id="{F82AA240-EF9F-46CE-9076-02F2D9E7E2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08B778-17D5-23A6-FDDB-D4D391B1BA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716" y="810929"/>
            <a:ext cx="11051459" cy="36933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555AE2A-AA7D-6A2B-BFC5-B79713234D29}"/>
              </a:ext>
            </a:extLst>
          </p:cNvPr>
          <p:cNvSpPr txBox="1"/>
          <p:nvPr userDrawn="1"/>
        </p:nvSpPr>
        <p:spPr>
          <a:xfrm>
            <a:off x="8675161" y="6473020"/>
            <a:ext cx="256857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2"/>
                </a:solidFill>
              </a:rPr>
              <a:t>© 2025 </a:t>
            </a:r>
            <a:r>
              <a:rPr lang="en-US" sz="800" err="1">
                <a:solidFill>
                  <a:schemeClr val="tx2"/>
                </a:solidFill>
              </a:rPr>
              <a:t>Cellphire</a:t>
            </a:r>
            <a:r>
              <a:rPr lang="en-US" sz="800">
                <a:solidFill>
                  <a:schemeClr val="tx2"/>
                </a:solidFill>
              </a:rPr>
              <a:t> Therapeutics, Inc. | Confidential    </a:t>
            </a:r>
          </a:p>
        </p:txBody>
      </p:sp>
    </p:spTree>
    <p:extLst>
      <p:ext uri="{BB962C8B-B14F-4D97-AF65-F5344CB8AC3E}">
        <p14:creationId xmlns:p14="http://schemas.microsoft.com/office/powerpoint/2010/main" val="2353102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3717" y="334416"/>
            <a:ext cx="11051459" cy="369332"/>
          </a:xfrm>
        </p:spPr>
        <p:txBody>
          <a:bodyPr/>
          <a:lstStyle>
            <a:lvl1pPr>
              <a:lnSpc>
                <a:spcPct val="100000"/>
              </a:lnSpc>
              <a:defRPr sz="2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3717" y="1278973"/>
            <a:ext cx="11051459" cy="4673600"/>
          </a:xfrm>
          <a:prstGeom prst="rect">
            <a:avLst/>
          </a:prstGeom>
        </p:spPr>
        <p:txBody>
          <a:bodyPr/>
          <a:lstStyle>
            <a:lvl1pPr>
              <a:defRPr sz="2133"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>
              <a:defRPr sz="2133">
                <a:solidFill>
                  <a:schemeClr val="tx2"/>
                </a:solidFill>
                <a:latin typeface="Aptos" panose="020B0004020202020204" pitchFamily="34" charset="0"/>
              </a:defRPr>
            </a:lvl2pPr>
            <a:lvl3pPr>
              <a:defRPr sz="2133">
                <a:solidFill>
                  <a:schemeClr val="tx2"/>
                </a:solidFill>
                <a:latin typeface="Aptos" panose="020B0004020202020204" pitchFamily="34" charset="0"/>
              </a:defRPr>
            </a:lvl3pPr>
            <a:lvl4pPr>
              <a:defRPr sz="2133">
                <a:solidFill>
                  <a:schemeClr val="tx2"/>
                </a:solidFill>
                <a:latin typeface="Aptos" panose="020B0004020202020204" pitchFamily="34" charset="0"/>
              </a:defRPr>
            </a:lvl4pPr>
            <a:lvl5pPr>
              <a:defRPr sz="2133">
                <a:solidFill>
                  <a:schemeClr val="tx2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fld id="{F82AA240-EF9F-46CE-9076-02F2D9E7E2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08B778-17D5-23A6-FDDB-D4D391B1BA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716" y="810929"/>
            <a:ext cx="11051459" cy="36933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555AE2A-AA7D-6A2B-BFC5-B79713234D29}"/>
              </a:ext>
            </a:extLst>
          </p:cNvPr>
          <p:cNvSpPr txBox="1"/>
          <p:nvPr userDrawn="1"/>
        </p:nvSpPr>
        <p:spPr>
          <a:xfrm>
            <a:off x="8675161" y="6473020"/>
            <a:ext cx="256857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2"/>
                </a:solidFill>
              </a:rPr>
              <a:t>© 2025 </a:t>
            </a:r>
            <a:r>
              <a:rPr lang="en-US" sz="800" err="1">
                <a:solidFill>
                  <a:schemeClr val="tx2"/>
                </a:solidFill>
              </a:rPr>
              <a:t>Cellphire</a:t>
            </a:r>
            <a:r>
              <a:rPr lang="en-US" sz="800">
                <a:solidFill>
                  <a:schemeClr val="tx2"/>
                </a:solidFill>
              </a:rPr>
              <a:t> Therapeutics, Inc. | Confidential    </a:t>
            </a:r>
          </a:p>
        </p:txBody>
      </p:sp>
    </p:spTree>
    <p:extLst>
      <p:ext uri="{BB962C8B-B14F-4D97-AF65-F5344CB8AC3E}">
        <p14:creationId xmlns:p14="http://schemas.microsoft.com/office/powerpoint/2010/main" val="37135405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7074" y="6226575"/>
            <a:ext cx="2255625" cy="421875"/>
          </a:xfrm>
          <a:prstGeom prst="rect">
            <a:avLst/>
          </a:prstGeom>
        </p:spPr>
      </p:pic>
      <p:sp>
        <p:nvSpPr>
          <p:cNvPr id="6" name="Slide Number Placeholder 6"/>
          <p:cNvSpPr txBox="1">
            <a:spLocks/>
          </p:cNvSpPr>
          <p:nvPr userDrawn="1"/>
        </p:nvSpPr>
        <p:spPr>
          <a:xfrm>
            <a:off x="685800" y="6484255"/>
            <a:ext cx="333636" cy="29311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3934CC2-27F1-4D89-AF19-8318FEF32B8A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2"/>
          <p:cNvSpPr>
            <a:spLocks noGrp="1"/>
          </p:cNvSpPr>
          <p:nvPr>
            <p:ph type="title"/>
          </p:nvPr>
        </p:nvSpPr>
        <p:spPr>
          <a:xfrm>
            <a:off x="685800" y="576072"/>
            <a:ext cx="11122572" cy="723899"/>
          </a:xfrm>
          <a:prstGeom prst="rect">
            <a:avLst/>
          </a:prstGeom>
        </p:spPr>
        <p:txBody>
          <a:bodyPr lIns="0" tIns="0" rIns="0" bIns="0"/>
          <a:lstStyle>
            <a:lvl1pPr>
              <a:defRPr sz="29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5C2567-4810-EF43-89FB-59E6C2A05A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5800" y="1371600"/>
            <a:ext cx="11126788" cy="4190586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Clr>
                <a:schemeClr val="tx1"/>
              </a:buClr>
              <a:buFont typeface="Arial" panose="020B0604020202020204" pitchFamily="34" charset="0"/>
              <a:buChar char="•"/>
              <a:defRPr sz="2200">
                <a:solidFill>
                  <a:schemeClr val="tx1"/>
                </a:solidFill>
              </a:defRPr>
            </a:lvl1pPr>
            <a:lvl2pPr marL="514350" indent="-225425">
              <a:buClr>
                <a:schemeClr val="tx1"/>
              </a:buClr>
              <a:buFont typeface=".AppleSystemUIFont"/>
              <a:buChar char="–"/>
              <a:tabLst/>
              <a:defRPr sz="1800">
                <a:solidFill>
                  <a:schemeClr val="tx1"/>
                </a:solidFill>
              </a:defRPr>
            </a:lvl2pPr>
            <a:lvl3pPr marL="866775" indent="-227013"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3pPr>
            <a:lvl4pPr marL="1257300" indent="-214313">
              <a:buClr>
                <a:schemeClr val="tx1"/>
              </a:buClr>
              <a:buFont typeface=".AppleSystemUIFont"/>
              <a:buChar char="–"/>
              <a:tabLst/>
              <a:defRPr sz="1400">
                <a:solidFill>
                  <a:schemeClr val="tx1"/>
                </a:solidFill>
              </a:defRPr>
            </a:lvl4pPr>
            <a:lvl5pPr marL="1546225" indent="-214313"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1432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174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3717" y="496342"/>
            <a:ext cx="11051459" cy="369332"/>
          </a:xfrm>
        </p:spPr>
        <p:txBody>
          <a:bodyPr/>
          <a:lstStyle>
            <a:lvl1pPr>
              <a:lnSpc>
                <a:spcPct val="100000"/>
              </a:lnSpc>
              <a:defRPr sz="2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fld id="{F82AA240-EF9F-46CE-9076-02F2D9E7E2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08B778-17D5-23A6-FDDB-D4D391B1BA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716" y="929993"/>
            <a:ext cx="11051459" cy="36933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8EE92E-6375-E3AE-69E2-B53276507A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2404" y="6488409"/>
            <a:ext cx="6310606" cy="184665"/>
          </a:xfrm>
        </p:spPr>
        <p:txBody>
          <a:bodyPr anchor="ctr" anchorCtr="0"/>
          <a:lstStyle>
            <a:lvl1pPr>
              <a:lnSpc>
                <a:spcPct val="100000"/>
              </a:lnSpc>
              <a:defRPr sz="800" b="0">
                <a:solidFill>
                  <a:srgbClr val="000000"/>
                </a:solidFill>
              </a:defRPr>
            </a:lvl1pPr>
            <a:lvl2pPr>
              <a:lnSpc>
                <a:spcPct val="100000"/>
              </a:lnSpc>
              <a:defRPr sz="1067"/>
            </a:lvl2pPr>
            <a:lvl3pPr>
              <a:lnSpc>
                <a:spcPct val="100000"/>
              </a:lnSpc>
              <a:defRPr sz="1067"/>
            </a:lvl3pPr>
            <a:lvl4pPr>
              <a:lnSpc>
                <a:spcPct val="100000"/>
              </a:lnSpc>
              <a:defRPr sz="1067"/>
            </a:lvl4pPr>
            <a:lvl5pPr>
              <a:lnSpc>
                <a:spcPct val="100000"/>
              </a:lnSpc>
              <a:defRPr sz="1067"/>
            </a:lvl5pPr>
          </a:lstStyle>
          <a:p>
            <a:pPr lvl="0"/>
            <a:r>
              <a:rPr lang="en-US"/>
              <a:t>Sources and footnot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1E442B7-B51F-F585-2AE8-DE0007EB53D2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63715" y="1596150"/>
            <a:ext cx="11051459" cy="4673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2200" b="1" kern="1200" dirty="0">
                <a:solidFill>
                  <a:schemeClr val="bg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  <a:lvl2pPr>
              <a:defRPr lang="en-US" sz="1900" dirty="0">
                <a:latin typeface="Aptos" panose="020B0004020202020204" pitchFamily="34" charset="0"/>
              </a:defRPr>
            </a:lvl2pPr>
            <a:lvl3pPr>
              <a:defRPr lang="en-US" sz="1700" dirty="0">
                <a:latin typeface="Aptos" panose="020B0004020202020204" pitchFamily="34" charset="0"/>
              </a:defRPr>
            </a:lvl3pPr>
            <a:lvl4pPr>
              <a:defRPr lang="en-US" dirty="0">
                <a:latin typeface="Aptos" panose="020B0004020202020204" pitchFamily="34" charset="0"/>
              </a:defRPr>
            </a:lvl4pPr>
            <a:lvl5pPr>
              <a:defRPr lang="en-US" dirty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F060154-1D5A-422E-6D32-65F8EB08609E}"/>
              </a:ext>
            </a:extLst>
          </p:cNvPr>
          <p:cNvSpPr txBox="1"/>
          <p:nvPr userDrawn="1"/>
        </p:nvSpPr>
        <p:spPr>
          <a:xfrm>
            <a:off x="10100334" y="6488409"/>
            <a:ext cx="1701205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700"/>
              <a:t>Non-Confidential</a:t>
            </a:r>
          </a:p>
        </p:txBody>
      </p:sp>
    </p:spTree>
    <p:extLst>
      <p:ext uri="{BB962C8B-B14F-4D97-AF65-F5344CB8AC3E}">
        <p14:creationId xmlns:p14="http://schemas.microsoft.com/office/powerpoint/2010/main" val="2420858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n-Confidenti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o not remove" hidden="1">
            <a:extLst>
              <a:ext uri="{FF2B5EF4-FFF2-40B4-BE49-F238E27FC236}">
                <a16:creationId xmlns:a16="http://schemas.microsoft.com/office/drawing/2014/main" id="{DEA89B4F-9F46-6D5C-0056-F4FDE21FC957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3717" y="348701"/>
            <a:ext cx="11051459" cy="369332"/>
          </a:xfrm>
        </p:spPr>
        <p:txBody>
          <a:bodyPr/>
          <a:lstStyle>
            <a:lvl1pPr>
              <a:lnSpc>
                <a:spcPct val="100000"/>
              </a:lnSpc>
              <a:defRPr sz="2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3717" y="1283741"/>
            <a:ext cx="11051459" cy="4673600"/>
          </a:xfrm>
          <a:prstGeom prst="rect">
            <a:avLst/>
          </a:prstGeom>
        </p:spPr>
        <p:txBody>
          <a:bodyPr/>
          <a:lstStyle>
            <a:lvl1pPr>
              <a:defRPr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4pPr>
            <a:lvl5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fld id="{F82AA240-EF9F-46CE-9076-02F2D9E7E2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08B778-17D5-23A6-FDDB-D4D391B1BA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716" y="804837"/>
            <a:ext cx="11051459" cy="36933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5630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ithout Non-confidenti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3717" y="324888"/>
            <a:ext cx="11051459" cy="369332"/>
          </a:xfrm>
        </p:spPr>
        <p:txBody>
          <a:bodyPr/>
          <a:lstStyle>
            <a:lvl1pPr>
              <a:lnSpc>
                <a:spcPct val="100000"/>
              </a:lnSpc>
              <a:defRPr sz="2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fld id="{F82AA240-EF9F-46CE-9076-02F2D9E7E2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08B778-17D5-23A6-FDDB-D4D391B1BA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716" y="815690"/>
            <a:ext cx="11051459" cy="36933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E34F445-E344-8AF9-2E3B-8F73FC1EE84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70270" y="1335276"/>
            <a:ext cx="11051459" cy="4673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2200" b="1" kern="1200" dirty="0">
                <a:solidFill>
                  <a:schemeClr val="bg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  <a:lvl2pPr>
              <a:defRPr lang="en-US" sz="1900" dirty="0">
                <a:latin typeface="Aptos" panose="020B0004020202020204" pitchFamily="34" charset="0"/>
              </a:defRPr>
            </a:lvl2pPr>
            <a:lvl3pPr>
              <a:defRPr lang="en-US" sz="1700" dirty="0">
                <a:latin typeface="Aptos" panose="020B0004020202020204" pitchFamily="34" charset="0"/>
              </a:defRPr>
            </a:lvl3pPr>
            <a:lvl4pPr>
              <a:defRPr lang="en-US" dirty="0">
                <a:latin typeface="Aptos" panose="020B0004020202020204" pitchFamily="34" charset="0"/>
              </a:defRPr>
            </a:lvl4pPr>
            <a:lvl5pPr>
              <a:defRPr lang="en-US" dirty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1A161FD-2B64-10C4-3113-E2B02533A8E7}"/>
              </a:ext>
            </a:extLst>
          </p:cNvPr>
          <p:cNvSpPr txBox="1"/>
          <p:nvPr userDrawn="1"/>
        </p:nvSpPr>
        <p:spPr>
          <a:xfrm>
            <a:off x="8675161" y="6473020"/>
            <a:ext cx="256857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2"/>
                </a:solidFill>
              </a:rPr>
              <a:t>© 2025 </a:t>
            </a:r>
            <a:r>
              <a:rPr lang="en-US" sz="800" err="1">
                <a:solidFill>
                  <a:schemeClr val="tx2"/>
                </a:solidFill>
              </a:rPr>
              <a:t>Cellphire</a:t>
            </a:r>
            <a:r>
              <a:rPr lang="en-US" sz="800">
                <a:solidFill>
                  <a:schemeClr val="tx2"/>
                </a:solidFill>
              </a:rPr>
              <a:t> Therapeutics, Inc. | Confidential    </a:t>
            </a:r>
          </a:p>
        </p:txBody>
      </p:sp>
    </p:spTree>
    <p:extLst>
      <p:ext uri="{BB962C8B-B14F-4D97-AF65-F5344CB8AC3E}">
        <p14:creationId xmlns:p14="http://schemas.microsoft.com/office/powerpoint/2010/main" val="1969240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9933" y="499874"/>
            <a:ext cx="10693867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9933" y="1193800"/>
            <a:ext cx="5181600" cy="4673600"/>
          </a:xfrm>
        </p:spPr>
        <p:txBody>
          <a:bodyPr/>
          <a:lstStyle>
            <a:lvl2pPr>
              <a:defRPr/>
            </a:lvl2pPr>
            <a:lvl3pPr>
              <a:defRPr sz="1600"/>
            </a:lvl3pPr>
            <a:lvl4pPr>
              <a:defRPr sz="1467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193800"/>
            <a:ext cx="5181600" cy="4673600"/>
          </a:xfrm>
        </p:spPr>
        <p:txBody>
          <a:bodyPr/>
          <a:lstStyle>
            <a:lvl2pPr>
              <a:defRPr/>
            </a:lvl2pPr>
            <a:lvl3pPr>
              <a:defRPr sz="1600"/>
            </a:lvl3pPr>
            <a:lvl4pPr>
              <a:defRPr sz="1467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AA240-EF9F-46CE-9076-02F2D9E7E27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207BFB-721B-6A50-1AB9-91C3EECC52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9300" y="6306628"/>
            <a:ext cx="8017328" cy="184665"/>
          </a:xfrm>
        </p:spPr>
        <p:txBody>
          <a:bodyPr anchor="t" anchorCtr="0"/>
          <a:lstStyle>
            <a:lvl1pPr>
              <a:lnSpc>
                <a:spcPct val="100000"/>
              </a:lnSpc>
              <a:defRPr sz="800" b="0">
                <a:solidFill>
                  <a:srgbClr val="000000"/>
                </a:solidFill>
              </a:defRPr>
            </a:lvl1pPr>
            <a:lvl2pPr>
              <a:lnSpc>
                <a:spcPct val="100000"/>
              </a:lnSpc>
              <a:defRPr sz="1067"/>
            </a:lvl2pPr>
            <a:lvl3pPr>
              <a:lnSpc>
                <a:spcPct val="100000"/>
              </a:lnSpc>
              <a:defRPr sz="1067"/>
            </a:lvl3pPr>
            <a:lvl4pPr>
              <a:lnSpc>
                <a:spcPct val="100000"/>
              </a:lnSpc>
              <a:defRPr sz="1067"/>
            </a:lvl4pPr>
            <a:lvl5pPr>
              <a:lnSpc>
                <a:spcPct val="100000"/>
              </a:lnSpc>
              <a:defRPr sz="1067"/>
            </a:lvl5pPr>
          </a:lstStyle>
          <a:p>
            <a:pPr lvl="0"/>
            <a:r>
              <a:rPr lang="en-US"/>
              <a:t>Sources and footnotes</a:t>
            </a:r>
          </a:p>
        </p:txBody>
      </p:sp>
    </p:spTree>
    <p:extLst>
      <p:ext uri="{BB962C8B-B14F-4D97-AF65-F5344CB8AC3E}">
        <p14:creationId xmlns:p14="http://schemas.microsoft.com/office/powerpoint/2010/main" val="61741665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C1CDA1F2-45CD-4172-B09C-F4116C6B8B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468712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0400" y="2787035"/>
            <a:ext cx="10355944" cy="689420"/>
          </a:xfrm>
        </p:spPr>
        <p:txBody>
          <a:bodyPr wrap="square" anchor="b">
            <a:spAutoFit/>
          </a:bodyPr>
          <a:lstStyle>
            <a:lvl1pPr algn="l">
              <a:lnSpc>
                <a:spcPct val="84000"/>
              </a:lnSpc>
              <a:defRPr sz="5333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60399" y="3861117"/>
            <a:ext cx="10355944" cy="649923"/>
          </a:xfrm>
        </p:spPr>
        <p:txBody>
          <a:bodyPr/>
          <a:lstStyle>
            <a:lvl1pPr marL="0" indent="0" algn="l">
              <a:buNone/>
              <a:defRPr sz="1333" b="1" cap="all" baseline="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MEETING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6 Cellphire, Inc.   Confidential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AA240-EF9F-46CE-9076-02F2D9E7E27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8F3BB6A-B315-4407-996C-4590705B0596}"/>
              </a:ext>
            </a:extLst>
          </p:cNvPr>
          <p:cNvCxnSpPr/>
          <p:nvPr userDrawn="1"/>
        </p:nvCxnSpPr>
        <p:spPr>
          <a:xfrm>
            <a:off x="660401" y="3668785"/>
            <a:ext cx="300838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887E27CF-ED54-49FB-94E3-B54F974B951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40" y="5497539"/>
            <a:ext cx="1253200" cy="693944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E13D017-58C3-4D5D-B87F-7A5714DEDF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33226" y="5811340"/>
            <a:ext cx="3757084" cy="240065"/>
          </a:xfrm>
        </p:spPr>
        <p:txBody>
          <a:bodyPr>
            <a:noAutofit/>
          </a:bodyPr>
          <a:lstStyle>
            <a:lvl1pPr>
              <a:defRPr sz="1733" b="0" cap="none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B42719B-A274-4D4F-9C7D-FD0706BF6B36}"/>
              </a:ext>
            </a:extLst>
          </p:cNvPr>
          <p:cNvCxnSpPr>
            <a:cxnSpLocks/>
          </p:cNvCxnSpPr>
          <p:nvPr userDrawn="1"/>
        </p:nvCxnSpPr>
        <p:spPr>
          <a:xfrm>
            <a:off x="3446223" y="5770697"/>
            <a:ext cx="0" cy="292608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50988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C1CDA1F2-45CD-4172-B09C-F4116C6B8B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468712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33227" y="2097617"/>
            <a:ext cx="7383117" cy="1378839"/>
          </a:xfrm>
        </p:spPr>
        <p:txBody>
          <a:bodyPr wrap="square" anchor="b">
            <a:spAutoFit/>
          </a:bodyPr>
          <a:lstStyle>
            <a:lvl1pPr algn="l">
              <a:lnSpc>
                <a:spcPct val="84000"/>
              </a:lnSpc>
              <a:defRPr sz="5333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33226" y="3861117"/>
            <a:ext cx="7383117" cy="649923"/>
          </a:xfrm>
        </p:spPr>
        <p:txBody>
          <a:bodyPr/>
          <a:lstStyle>
            <a:lvl1pPr marL="0" indent="0" algn="l">
              <a:buNone/>
              <a:defRPr sz="1333" b="1" cap="all" baseline="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MEETING NAME or </a:t>
            </a:r>
            <a:r>
              <a:rPr lang="en-US" err="1"/>
              <a:t>SubTitl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6 Cellphire, Inc.   Confidential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AA240-EF9F-46CE-9076-02F2D9E7E27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8F3BB6A-B315-4407-996C-4590705B0596}"/>
              </a:ext>
            </a:extLst>
          </p:cNvPr>
          <p:cNvCxnSpPr>
            <a:cxnSpLocks/>
          </p:cNvCxnSpPr>
          <p:nvPr userDrawn="1"/>
        </p:nvCxnSpPr>
        <p:spPr>
          <a:xfrm>
            <a:off x="3633228" y="3668785"/>
            <a:ext cx="300838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887E27CF-ED54-49FB-94E3-B54F974B951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40" y="5497539"/>
            <a:ext cx="1253200" cy="693944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E13D017-58C3-4D5D-B87F-7A5714DEDF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33226" y="5811340"/>
            <a:ext cx="3757084" cy="240065"/>
          </a:xfrm>
        </p:spPr>
        <p:txBody>
          <a:bodyPr>
            <a:noAutofit/>
          </a:bodyPr>
          <a:lstStyle>
            <a:lvl1pPr>
              <a:defRPr sz="1733" b="0" cap="none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B42719B-A274-4D4F-9C7D-FD0706BF6B36}"/>
              </a:ext>
            </a:extLst>
          </p:cNvPr>
          <p:cNvCxnSpPr>
            <a:cxnSpLocks/>
          </p:cNvCxnSpPr>
          <p:nvPr userDrawn="1"/>
        </p:nvCxnSpPr>
        <p:spPr>
          <a:xfrm>
            <a:off x="3446223" y="5770697"/>
            <a:ext cx="0" cy="292608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31DB0F3-A162-429E-BEE9-2629FDCB5F8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3445933" cy="4687121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6241182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/>
            </a:lvl2pPr>
            <a:lvl3pPr>
              <a:defRPr sz="1600"/>
            </a:lvl3pPr>
            <a:lvl4pPr>
              <a:defRPr sz="1467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6 Cellphire, Inc.   Confidential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AA240-EF9F-46CE-9076-02F2D9E7E2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26682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400" y="2629510"/>
            <a:ext cx="10515600" cy="830997"/>
          </a:xfrm>
        </p:spPr>
        <p:txBody>
          <a:bodyPr anchor="b">
            <a:noAutofit/>
          </a:bodyPr>
          <a:lstStyle>
            <a:lvl1pPr>
              <a:defRPr sz="4533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17E22319-13FE-4AF3-9FCA-98B1000102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40" y="5497539"/>
            <a:ext cx="1253200" cy="69394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760E110-49BE-4E11-AEB7-956BE347A777}"/>
              </a:ext>
            </a:extLst>
          </p:cNvPr>
          <p:cNvSpPr/>
          <p:nvPr userDrawn="1"/>
        </p:nvSpPr>
        <p:spPr>
          <a:xfrm>
            <a:off x="1" y="1"/>
            <a:ext cx="12193779" cy="4950060"/>
          </a:xfrm>
          <a:custGeom>
            <a:avLst/>
            <a:gdLst>
              <a:gd name="connsiteX0" fmla="*/ 0 w 9143429"/>
              <a:gd name="connsiteY0" fmla="*/ 0 h 3516351"/>
              <a:gd name="connsiteX1" fmla="*/ 9143429 w 9143429"/>
              <a:gd name="connsiteY1" fmla="*/ 0 h 3516351"/>
              <a:gd name="connsiteX2" fmla="*/ 9143429 w 9143429"/>
              <a:gd name="connsiteY2" fmla="*/ 3516351 h 3516351"/>
              <a:gd name="connsiteX3" fmla="*/ 0 w 9143429"/>
              <a:gd name="connsiteY3" fmla="*/ 3516351 h 3516351"/>
              <a:gd name="connsiteX4" fmla="*/ 0 w 9143429"/>
              <a:gd name="connsiteY4" fmla="*/ 0 h 3516351"/>
              <a:gd name="connsiteX0" fmla="*/ 0 w 9143429"/>
              <a:gd name="connsiteY0" fmla="*/ 0 h 3516351"/>
              <a:gd name="connsiteX1" fmla="*/ 9143429 w 9143429"/>
              <a:gd name="connsiteY1" fmla="*/ 0 h 3516351"/>
              <a:gd name="connsiteX2" fmla="*/ 9143429 w 9143429"/>
              <a:gd name="connsiteY2" fmla="*/ 3516351 h 3516351"/>
              <a:gd name="connsiteX3" fmla="*/ 4512527 w 9143429"/>
              <a:gd name="connsiteY3" fmla="*/ 3508917 h 3516351"/>
              <a:gd name="connsiteX4" fmla="*/ 0 w 9143429"/>
              <a:gd name="connsiteY4" fmla="*/ 3516351 h 3516351"/>
              <a:gd name="connsiteX5" fmla="*/ 0 w 9143429"/>
              <a:gd name="connsiteY5" fmla="*/ 0 h 3516351"/>
              <a:gd name="connsiteX0" fmla="*/ 0 w 9143429"/>
              <a:gd name="connsiteY0" fmla="*/ 0 h 3672480"/>
              <a:gd name="connsiteX1" fmla="*/ 9143429 w 9143429"/>
              <a:gd name="connsiteY1" fmla="*/ 0 h 3672480"/>
              <a:gd name="connsiteX2" fmla="*/ 9143429 w 9143429"/>
              <a:gd name="connsiteY2" fmla="*/ 3516351 h 3672480"/>
              <a:gd name="connsiteX3" fmla="*/ 4512527 w 9143429"/>
              <a:gd name="connsiteY3" fmla="*/ 3508917 h 3672480"/>
              <a:gd name="connsiteX4" fmla="*/ 0 w 9143429"/>
              <a:gd name="connsiteY4" fmla="*/ 3516351 h 3672480"/>
              <a:gd name="connsiteX5" fmla="*/ 0 w 9143429"/>
              <a:gd name="connsiteY5" fmla="*/ 0 h 3672480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43429 w 9143429"/>
              <a:gd name="connsiteY2" fmla="*/ 3516351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43429 w 9143429"/>
              <a:gd name="connsiteY2" fmla="*/ 3516351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43429 w 9143429"/>
              <a:gd name="connsiteY2" fmla="*/ 3516351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43429 w 9143429"/>
              <a:gd name="connsiteY2" fmla="*/ 3516351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21127 w 9143429"/>
              <a:gd name="connsiteY2" fmla="*/ 2854712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43429 w 9143429"/>
              <a:gd name="connsiteY2" fmla="*/ 2854712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35995 w 9143429"/>
              <a:gd name="connsiteY2" fmla="*/ 3144644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35995 w 9143429"/>
              <a:gd name="connsiteY2" fmla="*/ 3144644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35995 w 9143429"/>
              <a:gd name="connsiteY2" fmla="*/ 3144644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4309"/>
              <a:gd name="connsiteY0" fmla="*/ 0 h 3712545"/>
              <a:gd name="connsiteX1" fmla="*/ 9143429 w 9144309"/>
              <a:gd name="connsiteY1" fmla="*/ 0 h 3712545"/>
              <a:gd name="connsiteX2" fmla="*/ 9143615 w 9144309"/>
              <a:gd name="connsiteY2" fmla="*/ 3142739 h 3712545"/>
              <a:gd name="connsiteX3" fmla="*/ 4512527 w 9144309"/>
              <a:gd name="connsiteY3" fmla="*/ 3508917 h 3712545"/>
              <a:gd name="connsiteX4" fmla="*/ 0 w 9144309"/>
              <a:gd name="connsiteY4" fmla="*/ 3516351 h 3712545"/>
              <a:gd name="connsiteX5" fmla="*/ 0 w 9144309"/>
              <a:gd name="connsiteY5" fmla="*/ 0 h 3712545"/>
              <a:gd name="connsiteX0" fmla="*/ 0 w 9145334"/>
              <a:gd name="connsiteY0" fmla="*/ 0 h 3712545"/>
              <a:gd name="connsiteX1" fmla="*/ 9145334 w 9145334"/>
              <a:gd name="connsiteY1" fmla="*/ 0 h 3712545"/>
              <a:gd name="connsiteX2" fmla="*/ 9143615 w 9145334"/>
              <a:gd name="connsiteY2" fmla="*/ 3142739 h 3712545"/>
              <a:gd name="connsiteX3" fmla="*/ 4512527 w 9145334"/>
              <a:gd name="connsiteY3" fmla="*/ 3508917 h 3712545"/>
              <a:gd name="connsiteX4" fmla="*/ 0 w 9145334"/>
              <a:gd name="connsiteY4" fmla="*/ 3516351 h 3712545"/>
              <a:gd name="connsiteX5" fmla="*/ 0 w 9145334"/>
              <a:gd name="connsiteY5" fmla="*/ 0 h 3712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5334" h="3712545">
                <a:moveTo>
                  <a:pt x="0" y="0"/>
                </a:moveTo>
                <a:lnTo>
                  <a:pt x="9145334" y="0"/>
                </a:lnTo>
                <a:cubicBezTo>
                  <a:pt x="9142856" y="1048215"/>
                  <a:pt x="9146093" y="2094524"/>
                  <a:pt x="9143615" y="3142739"/>
                </a:cubicBezTo>
                <a:cubicBezTo>
                  <a:pt x="8046029" y="3132827"/>
                  <a:pt x="6398132" y="3266068"/>
                  <a:pt x="4512527" y="3508917"/>
                </a:cubicBezTo>
                <a:cubicBezTo>
                  <a:pt x="3275980" y="3667512"/>
                  <a:pt x="1563649" y="3870712"/>
                  <a:pt x="0" y="3516351"/>
                </a:cubicBezTo>
                <a:lnTo>
                  <a:pt x="0" y="0"/>
                </a:lnTo>
                <a:close/>
              </a:path>
            </a:pathLst>
          </a:custGeom>
          <a:solidFill>
            <a:srgbClr val="329F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283497034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400" y="2629510"/>
            <a:ext cx="10515600" cy="830997"/>
          </a:xfrm>
        </p:spPr>
        <p:txBody>
          <a:bodyPr anchor="b">
            <a:noAutofit/>
          </a:bodyPr>
          <a:lstStyle>
            <a:lvl1pPr>
              <a:defRPr sz="4533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30728" y="5527699"/>
            <a:ext cx="6302144" cy="231287"/>
          </a:xfrm>
        </p:spPr>
        <p:txBody>
          <a:bodyPr anchor="b" anchorCtr="0"/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17E22319-13FE-4AF3-9FCA-98B1000102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40" y="5497539"/>
            <a:ext cx="1253200" cy="69394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760E110-49BE-4E11-AEB7-956BE347A777}"/>
              </a:ext>
            </a:extLst>
          </p:cNvPr>
          <p:cNvSpPr/>
          <p:nvPr userDrawn="1"/>
        </p:nvSpPr>
        <p:spPr>
          <a:xfrm>
            <a:off x="1" y="1"/>
            <a:ext cx="12193779" cy="4950060"/>
          </a:xfrm>
          <a:custGeom>
            <a:avLst/>
            <a:gdLst>
              <a:gd name="connsiteX0" fmla="*/ 0 w 9143429"/>
              <a:gd name="connsiteY0" fmla="*/ 0 h 3516351"/>
              <a:gd name="connsiteX1" fmla="*/ 9143429 w 9143429"/>
              <a:gd name="connsiteY1" fmla="*/ 0 h 3516351"/>
              <a:gd name="connsiteX2" fmla="*/ 9143429 w 9143429"/>
              <a:gd name="connsiteY2" fmla="*/ 3516351 h 3516351"/>
              <a:gd name="connsiteX3" fmla="*/ 0 w 9143429"/>
              <a:gd name="connsiteY3" fmla="*/ 3516351 h 3516351"/>
              <a:gd name="connsiteX4" fmla="*/ 0 w 9143429"/>
              <a:gd name="connsiteY4" fmla="*/ 0 h 3516351"/>
              <a:gd name="connsiteX0" fmla="*/ 0 w 9143429"/>
              <a:gd name="connsiteY0" fmla="*/ 0 h 3516351"/>
              <a:gd name="connsiteX1" fmla="*/ 9143429 w 9143429"/>
              <a:gd name="connsiteY1" fmla="*/ 0 h 3516351"/>
              <a:gd name="connsiteX2" fmla="*/ 9143429 w 9143429"/>
              <a:gd name="connsiteY2" fmla="*/ 3516351 h 3516351"/>
              <a:gd name="connsiteX3" fmla="*/ 4512527 w 9143429"/>
              <a:gd name="connsiteY3" fmla="*/ 3508917 h 3516351"/>
              <a:gd name="connsiteX4" fmla="*/ 0 w 9143429"/>
              <a:gd name="connsiteY4" fmla="*/ 3516351 h 3516351"/>
              <a:gd name="connsiteX5" fmla="*/ 0 w 9143429"/>
              <a:gd name="connsiteY5" fmla="*/ 0 h 3516351"/>
              <a:gd name="connsiteX0" fmla="*/ 0 w 9143429"/>
              <a:gd name="connsiteY0" fmla="*/ 0 h 3672480"/>
              <a:gd name="connsiteX1" fmla="*/ 9143429 w 9143429"/>
              <a:gd name="connsiteY1" fmla="*/ 0 h 3672480"/>
              <a:gd name="connsiteX2" fmla="*/ 9143429 w 9143429"/>
              <a:gd name="connsiteY2" fmla="*/ 3516351 h 3672480"/>
              <a:gd name="connsiteX3" fmla="*/ 4512527 w 9143429"/>
              <a:gd name="connsiteY3" fmla="*/ 3508917 h 3672480"/>
              <a:gd name="connsiteX4" fmla="*/ 0 w 9143429"/>
              <a:gd name="connsiteY4" fmla="*/ 3516351 h 3672480"/>
              <a:gd name="connsiteX5" fmla="*/ 0 w 9143429"/>
              <a:gd name="connsiteY5" fmla="*/ 0 h 3672480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43429 w 9143429"/>
              <a:gd name="connsiteY2" fmla="*/ 3516351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43429 w 9143429"/>
              <a:gd name="connsiteY2" fmla="*/ 3516351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43429 w 9143429"/>
              <a:gd name="connsiteY2" fmla="*/ 3516351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43429 w 9143429"/>
              <a:gd name="connsiteY2" fmla="*/ 3516351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21127 w 9143429"/>
              <a:gd name="connsiteY2" fmla="*/ 2854712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43429 w 9143429"/>
              <a:gd name="connsiteY2" fmla="*/ 2854712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35995 w 9143429"/>
              <a:gd name="connsiteY2" fmla="*/ 3144644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35995 w 9143429"/>
              <a:gd name="connsiteY2" fmla="*/ 3144644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3429"/>
              <a:gd name="connsiteY0" fmla="*/ 0 h 3712545"/>
              <a:gd name="connsiteX1" fmla="*/ 9143429 w 9143429"/>
              <a:gd name="connsiteY1" fmla="*/ 0 h 3712545"/>
              <a:gd name="connsiteX2" fmla="*/ 9135995 w 9143429"/>
              <a:gd name="connsiteY2" fmla="*/ 3144644 h 3712545"/>
              <a:gd name="connsiteX3" fmla="*/ 4512527 w 9143429"/>
              <a:gd name="connsiteY3" fmla="*/ 3508917 h 3712545"/>
              <a:gd name="connsiteX4" fmla="*/ 0 w 9143429"/>
              <a:gd name="connsiteY4" fmla="*/ 3516351 h 3712545"/>
              <a:gd name="connsiteX5" fmla="*/ 0 w 9143429"/>
              <a:gd name="connsiteY5" fmla="*/ 0 h 3712545"/>
              <a:gd name="connsiteX0" fmla="*/ 0 w 9144309"/>
              <a:gd name="connsiteY0" fmla="*/ 0 h 3712545"/>
              <a:gd name="connsiteX1" fmla="*/ 9143429 w 9144309"/>
              <a:gd name="connsiteY1" fmla="*/ 0 h 3712545"/>
              <a:gd name="connsiteX2" fmla="*/ 9143615 w 9144309"/>
              <a:gd name="connsiteY2" fmla="*/ 3142739 h 3712545"/>
              <a:gd name="connsiteX3" fmla="*/ 4512527 w 9144309"/>
              <a:gd name="connsiteY3" fmla="*/ 3508917 h 3712545"/>
              <a:gd name="connsiteX4" fmla="*/ 0 w 9144309"/>
              <a:gd name="connsiteY4" fmla="*/ 3516351 h 3712545"/>
              <a:gd name="connsiteX5" fmla="*/ 0 w 9144309"/>
              <a:gd name="connsiteY5" fmla="*/ 0 h 3712545"/>
              <a:gd name="connsiteX0" fmla="*/ 0 w 9145334"/>
              <a:gd name="connsiteY0" fmla="*/ 0 h 3712545"/>
              <a:gd name="connsiteX1" fmla="*/ 9145334 w 9145334"/>
              <a:gd name="connsiteY1" fmla="*/ 0 h 3712545"/>
              <a:gd name="connsiteX2" fmla="*/ 9143615 w 9145334"/>
              <a:gd name="connsiteY2" fmla="*/ 3142739 h 3712545"/>
              <a:gd name="connsiteX3" fmla="*/ 4512527 w 9145334"/>
              <a:gd name="connsiteY3" fmla="*/ 3508917 h 3712545"/>
              <a:gd name="connsiteX4" fmla="*/ 0 w 9145334"/>
              <a:gd name="connsiteY4" fmla="*/ 3516351 h 3712545"/>
              <a:gd name="connsiteX5" fmla="*/ 0 w 9145334"/>
              <a:gd name="connsiteY5" fmla="*/ 0 h 3712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5334" h="3712545">
                <a:moveTo>
                  <a:pt x="0" y="0"/>
                </a:moveTo>
                <a:lnTo>
                  <a:pt x="9145334" y="0"/>
                </a:lnTo>
                <a:cubicBezTo>
                  <a:pt x="9142856" y="1048215"/>
                  <a:pt x="9146093" y="2094524"/>
                  <a:pt x="9143615" y="3142739"/>
                </a:cubicBezTo>
                <a:cubicBezTo>
                  <a:pt x="8046029" y="3132827"/>
                  <a:pt x="6398132" y="3266068"/>
                  <a:pt x="4512527" y="3508917"/>
                </a:cubicBezTo>
                <a:cubicBezTo>
                  <a:pt x="3275980" y="3667512"/>
                  <a:pt x="1563649" y="3870712"/>
                  <a:pt x="0" y="3516351"/>
                </a:cubicBezTo>
                <a:lnTo>
                  <a:pt x="0" y="0"/>
                </a:lnTo>
                <a:close/>
              </a:path>
            </a:pathLst>
          </a:custGeom>
          <a:solidFill>
            <a:srgbClr val="329F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AF447E7-DBA1-4C17-B74A-34080CE6A656}"/>
              </a:ext>
            </a:extLst>
          </p:cNvPr>
          <p:cNvCxnSpPr>
            <a:cxnSpLocks/>
          </p:cNvCxnSpPr>
          <p:nvPr userDrawn="1"/>
        </p:nvCxnSpPr>
        <p:spPr>
          <a:xfrm>
            <a:off x="3448081" y="5527699"/>
            <a:ext cx="0" cy="786741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CA3CC1F4-EFA9-425D-83A9-5AEFFFC583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30084" y="5869096"/>
            <a:ext cx="3232149" cy="53551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733" b="0" cap="none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96313B2-FF72-483D-8BC9-EDB556059B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55314" y="5869096"/>
            <a:ext cx="3232149" cy="53551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733" b="0" cap="none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245394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9933" y="499873"/>
            <a:ext cx="10693867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9933" y="1193800"/>
            <a:ext cx="5181600" cy="4673600"/>
          </a:xfrm>
        </p:spPr>
        <p:txBody>
          <a:bodyPr/>
          <a:lstStyle>
            <a:lvl2pPr>
              <a:defRPr/>
            </a:lvl2pPr>
            <a:lvl3pPr>
              <a:defRPr sz="1600"/>
            </a:lvl3pPr>
            <a:lvl4pPr>
              <a:defRPr sz="1467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193800"/>
            <a:ext cx="5181600" cy="4673600"/>
          </a:xfrm>
        </p:spPr>
        <p:txBody>
          <a:bodyPr/>
          <a:lstStyle>
            <a:lvl2pPr>
              <a:defRPr/>
            </a:lvl2pPr>
            <a:lvl3pPr>
              <a:defRPr sz="1600"/>
            </a:lvl3pPr>
            <a:lvl4pPr>
              <a:defRPr sz="1467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6 Cellphire, Inc.   Confidential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AA240-EF9F-46CE-9076-02F2D9E7E2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706548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_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9933" y="499873"/>
            <a:ext cx="10693867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9934" y="1193800"/>
            <a:ext cx="4373461" cy="4673600"/>
          </a:xfrm>
        </p:spPr>
        <p:txBody>
          <a:bodyPr/>
          <a:lstStyle>
            <a:lvl2pPr>
              <a:defRPr/>
            </a:lvl2pPr>
            <a:lvl3pPr>
              <a:defRPr sz="1600"/>
            </a:lvl3pPr>
            <a:lvl4pPr>
              <a:defRPr sz="1467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6 Cellphire, Inc.   Confidential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AA240-EF9F-46CE-9076-02F2D9E7E2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7336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9933" y="997140"/>
            <a:ext cx="51816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997140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6 Cellphire, Inc.   Confidential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AA240-EF9F-46CE-9076-02F2D9E7E27F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CD178B6-7A44-4C6F-8F99-4D93D56C11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9933" y="499873"/>
            <a:ext cx="10693867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38E7A70-F108-4E83-B62E-7F1330957A3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59933" y="1908141"/>
            <a:ext cx="5181600" cy="3959260"/>
          </a:xfrm>
        </p:spPr>
        <p:txBody>
          <a:bodyPr/>
          <a:lstStyle>
            <a:lvl2pPr>
              <a:defRPr/>
            </a:lvl2pPr>
            <a:lvl3pPr>
              <a:defRPr sz="1600"/>
            </a:lvl3pPr>
            <a:lvl4pPr>
              <a:defRPr sz="1467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83E87FE4-A1D8-4366-9C55-218877B11DD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908141"/>
            <a:ext cx="5181600" cy="3959260"/>
          </a:xfrm>
        </p:spPr>
        <p:txBody>
          <a:bodyPr/>
          <a:lstStyle>
            <a:lvl2pPr>
              <a:defRPr/>
            </a:lvl2pPr>
            <a:lvl3pPr>
              <a:defRPr sz="1600"/>
            </a:lvl3pPr>
            <a:lvl4pPr>
              <a:defRPr sz="1467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0012228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6 Cellphire, Inc.   Confidential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AA240-EF9F-46CE-9076-02F2D9E7E2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85007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B0B87E9-AC65-4F26-8352-44848DBD15A9}"/>
              </a:ext>
            </a:extLst>
          </p:cNvPr>
          <p:cNvSpPr/>
          <p:nvPr userDrawn="1"/>
        </p:nvSpPr>
        <p:spPr>
          <a:xfrm>
            <a:off x="0" y="6060443"/>
            <a:ext cx="12192000" cy="7975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062B31C2-72EF-4CD1-88D0-1F55636CC7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130" y="6242781"/>
            <a:ext cx="744220" cy="412103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6 Cellphire, Inc.   Confidential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AA240-EF9F-46CE-9076-02F2D9E7E2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45370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C2DD36-2264-2FEB-305E-506B8815A2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3255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356682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4DB89B3-4E6A-0256-65D2-DDDF41BD9D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149475"/>
            <a:ext cx="5157787" cy="40401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372550-4E07-186E-37AC-9460F25FA5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3255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356682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41E7D83-40E2-3619-05E4-FCD432E23D2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149475"/>
            <a:ext cx="5183188" cy="40401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1892F6-41E5-4308-A1E2-F9E9EBFD8F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D347D-707D-4B4C-834D-8FACA04E9F09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3BD9ACE-2D84-5B7E-4E61-0E8506177A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6151" y="190834"/>
            <a:ext cx="10515600" cy="11235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3388729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C1CDA1F2-45CD-4172-B09C-F4116C6B8B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468712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0400" y="2787035"/>
            <a:ext cx="10355944" cy="689420"/>
          </a:xfrm>
        </p:spPr>
        <p:txBody>
          <a:bodyPr wrap="square" anchor="b">
            <a:spAutoFit/>
          </a:bodyPr>
          <a:lstStyle>
            <a:lvl1pPr algn="l">
              <a:lnSpc>
                <a:spcPct val="84000"/>
              </a:lnSpc>
              <a:defRPr sz="5333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6 Cellphire, Inc.   Confidential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AA240-EF9F-46CE-9076-02F2D9E7E27F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887E27CF-ED54-49FB-94E3-B54F974B951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40" y="5497539"/>
            <a:ext cx="1253200" cy="693944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CAC55F1-78D7-4358-9B47-EF0AE06A4E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30728" y="5527699"/>
            <a:ext cx="6302144" cy="231287"/>
          </a:xfrm>
        </p:spPr>
        <p:txBody>
          <a:bodyPr anchor="b" anchorCtr="0"/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4C1B056-BBFB-4F6B-824A-0A8C47D82016}"/>
              </a:ext>
            </a:extLst>
          </p:cNvPr>
          <p:cNvCxnSpPr>
            <a:cxnSpLocks/>
          </p:cNvCxnSpPr>
          <p:nvPr userDrawn="1"/>
        </p:nvCxnSpPr>
        <p:spPr>
          <a:xfrm>
            <a:off x="3448081" y="5527699"/>
            <a:ext cx="0" cy="786741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6EB445E0-DF70-4E53-BB1A-87CEB1F8E8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30084" y="5869096"/>
            <a:ext cx="3232149" cy="53551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733" b="0" cap="none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E0CC88B5-4542-4B1E-AAFD-813174E8E2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55314" y="5869096"/>
            <a:ext cx="3232149" cy="53551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733" b="0" cap="none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714547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n-Confidenti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3717" y="496342"/>
            <a:ext cx="11051459" cy="369332"/>
          </a:xfrm>
        </p:spPr>
        <p:txBody>
          <a:bodyPr/>
          <a:lstStyle>
            <a:lvl1pPr>
              <a:lnSpc>
                <a:spcPct val="100000"/>
              </a:lnSpc>
              <a:defRPr sz="2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3717" y="1493292"/>
            <a:ext cx="11051459" cy="4673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2200" b="1" kern="1200" dirty="0">
                <a:solidFill>
                  <a:schemeClr val="bg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  <a:lvl2pPr>
              <a:defRPr lang="en-US" sz="1900" dirty="0">
                <a:latin typeface="Aptos" panose="020B0004020202020204" pitchFamily="34" charset="0"/>
              </a:defRPr>
            </a:lvl2pPr>
            <a:lvl3pPr>
              <a:defRPr lang="en-US" sz="1700" dirty="0">
                <a:latin typeface="Aptos" panose="020B0004020202020204" pitchFamily="34" charset="0"/>
              </a:defRPr>
            </a:lvl3pPr>
            <a:lvl4pPr>
              <a:defRPr lang="en-US" dirty="0">
                <a:latin typeface="Aptos" panose="020B0004020202020204" pitchFamily="34" charset="0"/>
              </a:defRPr>
            </a:lvl4pPr>
            <a:lvl5pPr>
              <a:defRPr lang="en-US" dirty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fld id="{F82AA240-EF9F-46CE-9076-02F2D9E7E2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08B778-17D5-23A6-FDDB-D4D391B1BA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716" y="938193"/>
            <a:ext cx="11051459" cy="36933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E95272E-459D-41B4-D8FC-5BC5AC8CC5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1829" y="6488409"/>
            <a:ext cx="8522291" cy="194739"/>
          </a:xfrm>
        </p:spPr>
        <p:txBody>
          <a:bodyPr anchor="ctr" anchorCtr="0"/>
          <a:lstStyle>
            <a:lvl1pPr>
              <a:lnSpc>
                <a:spcPct val="100000"/>
              </a:lnSpc>
              <a:defRPr sz="800" b="0">
                <a:solidFill>
                  <a:srgbClr val="000000"/>
                </a:solidFill>
              </a:defRPr>
            </a:lvl1pPr>
            <a:lvl2pPr>
              <a:lnSpc>
                <a:spcPct val="100000"/>
              </a:lnSpc>
              <a:defRPr sz="1067"/>
            </a:lvl2pPr>
            <a:lvl3pPr>
              <a:lnSpc>
                <a:spcPct val="100000"/>
              </a:lnSpc>
              <a:defRPr sz="1067"/>
            </a:lvl3pPr>
            <a:lvl4pPr>
              <a:lnSpc>
                <a:spcPct val="100000"/>
              </a:lnSpc>
              <a:defRPr sz="1067"/>
            </a:lvl4pPr>
            <a:lvl5pPr>
              <a:lnSpc>
                <a:spcPct val="100000"/>
              </a:lnSpc>
              <a:defRPr sz="1067"/>
            </a:lvl5pPr>
          </a:lstStyle>
          <a:p>
            <a:pPr lvl="0"/>
            <a:r>
              <a:rPr lang="en-US"/>
              <a:t>Sources and footnotes</a:t>
            </a:r>
          </a:p>
        </p:txBody>
      </p:sp>
    </p:spTree>
    <p:extLst>
      <p:ext uri="{BB962C8B-B14F-4D97-AF65-F5344CB8AC3E}">
        <p14:creationId xmlns:p14="http://schemas.microsoft.com/office/powerpoint/2010/main" val="2018241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n-Confidenti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3717" y="496342"/>
            <a:ext cx="11051459" cy="369332"/>
          </a:xfrm>
        </p:spPr>
        <p:txBody>
          <a:bodyPr/>
          <a:lstStyle>
            <a:lvl1pPr>
              <a:lnSpc>
                <a:spcPct val="100000"/>
              </a:lnSpc>
              <a:defRPr sz="2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3717" y="1493292"/>
            <a:ext cx="11051459" cy="4673600"/>
          </a:xfrm>
          <a:prstGeom prst="rect">
            <a:avLst/>
          </a:prstGeom>
        </p:spPr>
        <p:txBody>
          <a:bodyPr/>
          <a:lstStyle>
            <a:lvl1pPr>
              <a:defRPr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4pPr>
            <a:lvl5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fld id="{F82AA240-EF9F-46CE-9076-02F2D9E7E2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08B778-17D5-23A6-FDDB-D4D391B1BA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716" y="938193"/>
            <a:ext cx="11051459" cy="36933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E95272E-459D-41B4-D8FC-5BC5AC8CC5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1829" y="6488409"/>
            <a:ext cx="8522291" cy="194739"/>
          </a:xfrm>
        </p:spPr>
        <p:txBody>
          <a:bodyPr anchor="ctr" anchorCtr="0"/>
          <a:lstStyle>
            <a:lvl1pPr>
              <a:lnSpc>
                <a:spcPct val="100000"/>
              </a:lnSpc>
              <a:defRPr sz="800" b="0">
                <a:solidFill>
                  <a:srgbClr val="000000"/>
                </a:solidFill>
              </a:defRPr>
            </a:lvl1pPr>
            <a:lvl2pPr>
              <a:lnSpc>
                <a:spcPct val="100000"/>
              </a:lnSpc>
              <a:defRPr sz="1067"/>
            </a:lvl2pPr>
            <a:lvl3pPr>
              <a:lnSpc>
                <a:spcPct val="100000"/>
              </a:lnSpc>
              <a:defRPr sz="1067"/>
            </a:lvl3pPr>
            <a:lvl4pPr>
              <a:lnSpc>
                <a:spcPct val="100000"/>
              </a:lnSpc>
              <a:defRPr sz="1067"/>
            </a:lvl4pPr>
            <a:lvl5pPr>
              <a:lnSpc>
                <a:spcPct val="100000"/>
              </a:lnSpc>
              <a:defRPr sz="1067"/>
            </a:lvl5pPr>
          </a:lstStyle>
          <a:p>
            <a:pPr lvl="0"/>
            <a:r>
              <a:rPr lang="en-US"/>
              <a:t>Sources and footnotes</a:t>
            </a:r>
          </a:p>
        </p:txBody>
      </p:sp>
      <p:sp>
        <p:nvSpPr>
          <p:cNvPr id="5" name="TextBox 18">
            <a:extLst>
              <a:ext uri="{FF2B5EF4-FFF2-40B4-BE49-F238E27FC236}">
                <a16:creationId xmlns:a16="http://schemas.microsoft.com/office/drawing/2014/main" id="{425B77D2-F868-9568-503E-C39CDC95A08F}"/>
              </a:ext>
            </a:extLst>
          </p:cNvPr>
          <p:cNvSpPr txBox="1"/>
          <p:nvPr userDrawn="1"/>
        </p:nvSpPr>
        <p:spPr>
          <a:xfrm>
            <a:off x="8635182" y="6492131"/>
            <a:ext cx="2325432" cy="107722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>
                <a:latin typeface="Arial"/>
                <a:cs typeface="Arial"/>
              </a:rPr>
              <a:t>© 2026 Cellphire Therapeutics, Inc. | Confidential </a:t>
            </a:r>
            <a:endParaRPr lang="en-US" sz="700"/>
          </a:p>
        </p:txBody>
      </p:sp>
    </p:spTree>
    <p:extLst>
      <p:ext uri="{BB962C8B-B14F-4D97-AF65-F5344CB8AC3E}">
        <p14:creationId xmlns:p14="http://schemas.microsoft.com/office/powerpoint/2010/main" val="16714464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ithout Non-confidenti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3717" y="324888"/>
            <a:ext cx="11051459" cy="369332"/>
          </a:xfrm>
        </p:spPr>
        <p:txBody>
          <a:bodyPr/>
          <a:lstStyle>
            <a:lvl1pPr>
              <a:lnSpc>
                <a:spcPct val="100000"/>
              </a:lnSpc>
              <a:defRPr sz="2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fld id="{F82AA240-EF9F-46CE-9076-02F2D9E7E2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08B778-17D5-23A6-FDDB-D4D391B1BA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716" y="815690"/>
            <a:ext cx="11051459" cy="36933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E34F445-E344-8AF9-2E3B-8F73FC1EE84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70270" y="1335276"/>
            <a:ext cx="11051459" cy="4673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2200" b="1" kern="1200" dirty="0">
                <a:solidFill>
                  <a:schemeClr val="bg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  <a:lvl2pPr>
              <a:defRPr lang="en-US" sz="1900" dirty="0">
                <a:latin typeface="Aptos" panose="020B0004020202020204" pitchFamily="34" charset="0"/>
              </a:defRPr>
            </a:lvl2pPr>
            <a:lvl3pPr>
              <a:defRPr lang="en-US" sz="1700" dirty="0">
                <a:latin typeface="Aptos" panose="020B0004020202020204" pitchFamily="34" charset="0"/>
              </a:defRPr>
            </a:lvl3pPr>
            <a:lvl4pPr>
              <a:defRPr lang="en-US" dirty="0">
                <a:latin typeface="Aptos" panose="020B0004020202020204" pitchFamily="34" charset="0"/>
              </a:defRPr>
            </a:lvl4pPr>
            <a:lvl5pPr>
              <a:defRPr lang="en-US" dirty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419898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3717" y="324890"/>
            <a:ext cx="11051459" cy="369332"/>
          </a:xfrm>
        </p:spPr>
        <p:txBody>
          <a:bodyPr/>
          <a:lstStyle>
            <a:lvl1pPr>
              <a:lnSpc>
                <a:spcPct val="100000"/>
              </a:lnSpc>
              <a:defRPr sz="2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fld id="{F82AA240-EF9F-46CE-9076-02F2D9E7E2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08B778-17D5-23A6-FDDB-D4D391B1BA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716" y="796639"/>
            <a:ext cx="11051459" cy="36933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1E442B7-B51F-F585-2AE8-DE0007EB53D2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63715" y="1229432"/>
            <a:ext cx="11051459" cy="4673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2200" b="1" kern="1200" dirty="0">
                <a:solidFill>
                  <a:schemeClr val="bg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  <a:lvl2pPr>
              <a:defRPr lang="en-US" sz="1900" dirty="0">
                <a:latin typeface="Aptos" panose="020B0004020202020204" pitchFamily="34" charset="0"/>
              </a:defRPr>
            </a:lvl2pPr>
            <a:lvl3pPr>
              <a:defRPr lang="en-US" sz="1700" dirty="0">
                <a:latin typeface="Aptos" panose="020B0004020202020204" pitchFamily="34" charset="0"/>
              </a:defRPr>
            </a:lvl3pPr>
            <a:lvl4pPr>
              <a:defRPr lang="en-US" dirty="0">
                <a:latin typeface="Aptos" panose="020B0004020202020204" pitchFamily="34" charset="0"/>
              </a:defRPr>
            </a:lvl4pPr>
            <a:lvl5pPr>
              <a:defRPr lang="en-US" dirty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85461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3717" y="496342"/>
            <a:ext cx="11051459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3717" y="1493292"/>
            <a:ext cx="11051459" cy="4673600"/>
          </a:xfrm>
          <a:prstGeom prst="rect">
            <a:avLst/>
          </a:prstGeom>
        </p:spPr>
        <p:txBody>
          <a:bodyPr/>
          <a:lstStyle>
            <a:lvl1pPr>
              <a:defRPr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4pPr>
            <a:lvl5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AA240-EF9F-46CE-9076-02F2D9E7E27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08B778-17D5-23A6-FDDB-D4D391B1BA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717" y="891894"/>
            <a:ext cx="11051459" cy="369332"/>
          </a:xfrm>
          <a:prstGeom prst="rect">
            <a:avLst/>
          </a:prstGeom>
        </p:spPr>
        <p:txBody>
          <a:bodyPr/>
          <a:lstStyle>
            <a:lvl1pPr>
              <a:defRPr sz="1867"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E95272E-459D-41B4-D8FC-5BC5AC8CC5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9300" y="6306629"/>
            <a:ext cx="8017328" cy="184665"/>
          </a:xfrm>
        </p:spPr>
        <p:txBody>
          <a:bodyPr anchor="t" anchorCtr="0"/>
          <a:lstStyle>
            <a:lvl1pPr>
              <a:lnSpc>
                <a:spcPct val="100000"/>
              </a:lnSpc>
              <a:defRPr sz="800" b="0">
                <a:solidFill>
                  <a:srgbClr val="000000"/>
                </a:solidFill>
              </a:defRPr>
            </a:lvl1pPr>
            <a:lvl2pPr>
              <a:lnSpc>
                <a:spcPct val="100000"/>
              </a:lnSpc>
              <a:defRPr sz="1067"/>
            </a:lvl2pPr>
            <a:lvl3pPr>
              <a:lnSpc>
                <a:spcPct val="100000"/>
              </a:lnSpc>
              <a:defRPr sz="1067"/>
            </a:lvl3pPr>
            <a:lvl4pPr>
              <a:lnSpc>
                <a:spcPct val="100000"/>
              </a:lnSpc>
              <a:defRPr sz="1067"/>
            </a:lvl4pPr>
            <a:lvl5pPr>
              <a:lnSpc>
                <a:spcPct val="100000"/>
              </a:lnSpc>
              <a:defRPr sz="1067"/>
            </a:lvl5pPr>
          </a:lstStyle>
          <a:p>
            <a:pPr lvl="0"/>
            <a:r>
              <a:rPr lang="en-US"/>
              <a:t>Sources and footnotes</a:t>
            </a:r>
          </a:p>
        </p:txBody>
      </p:sp>
    </p:spTree>
    <p:extLst>
      <p:ext uri="{BB962C8B-B14F-4D97-AF65-F5344CB8AC3E}">
        <p14:creationId xmlns:p14="http://schemas.microsoft.com/office/powerpoint/2010/main" val="565151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3717" y="496342"/>
            <a:ext cx="11051459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3717" y="1493292"/>
            <a:ext cx="11051459" cy="4673600"/>
          </a:xfrm>
          <a:prstGeom prst="rect">
            <a:avLst/>
          </a:prstGeom>
        </p:spPr>
        <p:txBody>
          <a:bodyPr/>
          <a:lstStyle>
            <a:lvl1pPr>
              <a:defRPr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4pPr>
            <a:lvl5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24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133" b="1" i="0" u="none" strike="noStrike" kern="1200" cap="none" spc="0" normalizeH="0" baseline="0" noProof="0">
                <a:ln>
                  <a:noFill/>
                </a:ln>
                <a:solidFill>
                  <a:srgbClr val="50037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AA240-EF9F-46CE-9076-02F2D9E7E27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08B778-17D5-23A6-FDDB-D4D391B1BA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716" y="891893"/>
            <a:ext cx="11051459" cy="369332"/>
          </a:xfrm>
          <a:prstGeom prst="rect">
            <a:avLst/>
          </a:prstGeom>
        </p:spPr>
        <p:txBody>
          <a:bodyPr/>
          <a:lstStyle>
            <a:lvl1pPr>
              <a:defRPr sz="1867"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8EE92E-6375-E3AE-69E2-B53276507A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9300" y="6306628"/>
            <a:ext cx="8017328" cy="184665"/>
          </a:xfrm>
        </p:spPr>
        <p:txBody>
          <a:bodyPr anchor="t" anchorCtr="0"/>
          <a:lstStyle>
            <a:lvl1pPr>
              <a:lnSpc>
                <a:spcPct val="100000"/>
              </a:lnSpc>
              <a:defRPr sz="800" b="0">
                <a:solidFill>
                  <a:srgbClr val="000000"/>
                </a:solidFill>
              </a:defRPr>
            </a:lvl1pPr>
            <a:lvl2pPr>
              <a:lnSpc>
                <a:spcPct val="100000"/>
              </a:lnSpc>
              <a:defRPr sz="1067"/>
            </a:lvl2pPr>
            <a:lvl3pPr>
              <a:lnSpc>
                <a:spcPct val="100000"/>
              </a:lnSpc>
              <a:defRPr sz="1067"/>
            </a:lvl3pPr>
            <a:lvl4pPr>
              <a:lnSpc>
                <a:spcPct val="100000"/>
              </a:lnSpc>
              <a:defRPr sz="1067"/>
            </a:lvl4pPr>
            <a:lvl5pPr>
              <a:lnSpc>
                <a:spcPct val="100000"/>
              </a:lnSpc>
              <a:defRPr sz="1067"/>
            </a:lvl5pPr>
          </a:lstStyle>
          <a:p>
            <a:pPr lvl="0"/>
            <a:r>
              <a:rPr lang="en-US"/>
              <a:t>Sources and footnotes</a:t>
            </a:r>
          </a:p>
        </p:txBody>
      </p:sp>
    </p:spTree>
    <p:extLst>
      <p:ext uri="{BB962C8B-B14F-4D97-AF65-F5344CB8AC3E}">
        <p14:creationId xmlns:p14="http://schemas.microsoft.com/office/powerpoint/2010/main" val="1073582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8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rgbClr val="5A5A5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712284979"/>
      </p:ext>
    </p:extLst>
  </p:cSld>
  <p:clrMapOvr>
    <a:masterClrMapping/>
  </p:clrMapOvr>
  <p:transition spd="med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close-up of a doctor wearing surgical gear&#10;&#10;Description automatically generated">
            <a:extLst>
              <a:ext uri="{FF2B5EF4-FFF2-40B4-BE49-F238E27FC236}">
                <a16:creationId xmlns:a16="http://schemas.microsoft.com/office/drawing/2014/main" id="{BCC26B3B-1C13-87A7-E0A3-0E72674D4A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49789" y="-1"/>
            <a:ext cx="9242211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B427ACE-59AA-B1DF-AF1D-5F36DFF9C4B7}"/>
              </a:ext>
            </a:extLst>
          </p:cNvPr>
          <p:cNvSpPr/>
          <p:nvPr userDrawn="1"/>
        </p:nvSpPr>
        <p:spPr>
          <a:xfrm>
            <a:off x="1" y="-14229"/>
            <a:ext cx="4539919" cy="68864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B842E4A9-2EA1-CA39-0C3D-29D0FC1B771F}"/>
              </a:ext>
            </a:extLst>
          </p:cNvPr>
          <p:cNvSpPr/>
          <p:nvPr userDrawn="1"/>
        </p:nvSpPr>
        <p:spPr>
          <a:xfrm>
            <a:off x="4138865" y="2679033"/>
            <a:ext cx="866275" cy="13956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6" name="Picture 5" descr="A purple and blue curves on a black background&#10;&#10;Description automatically generated">
            <a:extLst>
              <a:ext uri="{FF2B5EF4-FFF2-40B4-BE49-F238E27FC236}">
                <a16:creationId xmlns:a16="http://schemas.microsoft.com/office/drawing/2014/main" id="{34FC9E8C-C4C2-3815-F60F-6DA9EA66BD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1026731" y="1346239"/>
            <a:ext cx="7628100" cy="406124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A026CA6-06B0-71CD-0015-66F74F9836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745" y="3066481"/>
            <a:ext cx="3444612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675305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 not remove" hidden="1">
            <a:extLst>
              <a:ext uri="{FF2B5EF4-FFF2-40B4-BE49-F238E27FC236}">
                <a16:creationId xmlns:a16="http://schemas.microsoft.com/office/drawing/2014/main" id="{8DEDA4F8-D548-20B3-8D5A-B587668BFFA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1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9934" y="339178"/>
            <a:ext cx="10838577" cy="369332"/>
          </a:xfrm>
        </p:spPr>
        <p:txBody>
          <a:bodyPr/>
          <a:lstStyle>
            <a:lvl1pPr>
              <a:defRPr sz="2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9933" y="893759"/>
            <a:ext cx="9608192" cy="46736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67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840EFBA-2280-27DD-86F1-E8C83D41EA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4888" y="6488412"/>
            <a:ext cx="330549" cy="184665"/>
          </a:xfrm>
        </p:spPr>
        <p:txBody>
          <a:bodyPr/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fld id="{F82AA240-EF9F-46CE-9076-02F2D9E7E27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23057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3717" y="334417"/>
            <a:ext cx="11051459" cy="369332"/>
          </a:xfrm>
        </p:spPr>
        <p:txBody>
          <a:bodyPr/>
          <a:lstStyle>
            <a:lvl1pPr>
              <a:lnSpc>
                <a:spcPct val="100000"/>
              </a:lnSpc>
              <a:defRPr sz="2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3717" y="1278973"/>
            <a:ext cx="11051459" cy="4673600"/>
          </a:xfrm>
          <a:prstGeom prst="rect">
            <a:avLst/>
          </a:prstGeom>
        </p:spPr>
        <p:txBody>
          <a:bodyPr/>
          <a:lstStyle>
            <a:lvl1pPr>
              <a:defRPr sz="2133"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>
              <a:defRPr sz="2133">
                <a:solidFill>
                  <a:schemeClr val="tx2"/>
                </a:solidFill>
                <a:latin typeface="Aptos" panose="020B0004020202020204" pitchFamily="34" charset="0"/>
              </a:defRPr>
            </a:lvl2pPr>
            <a:lvl3pPr>
              <a:defRPr sz="2133">
                <a:solidFill>
                  <a:schemeClr val="tx2"/>
                </a:solidFill>
                <a:latin typeface="Aptos" panose="020B0004020202020204" pitchFamily="34" charset="0"/>
              </a:defRPr>
            </a:lvl3pPr>
            <a:lvl4pPr>
              <a:defRPr sz="2133">
                <a:solidFill>
                  <a:schemeClr val="tx2"/>
                </a:solidFill>
                <a:latin typeface="Aptos" panose="020B0004020202020204" pitchFamily="34" charset="0"/>
              </a:defRPr>
            </a:lvl4pPr>
            <a:lvl5pPr>
              <a:defRPr sz="2133">
                <a:solidFill>
                  <a:schemeClr val="tx2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fld id="{F82AA240-EF9F-46CE-9076-02F2D9E7E2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08B778-17D5-23A6-FDDB-D4D391B1BA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717" y="810930"/>
            <a:ext cx="11051459" cy="36933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Box 18">
            <a:extLst>
              <a:ext uri="{FF2B5EF4-FFF2-40B4-BE49-F238E27FC236}">
                <a16:creationId xmlns:a16="http://schemas.microsoft.com/office/drawing/2014/main" id="{071845D1-6A89-B04D-E914-496108214CC2}"/>
              </a:ext>
            </a:extLst>
          </p:cNvPr>
          <p:cNvSpPr txBox="1"/>
          <p:nvPr userDrawn="1"/>
        </p:nvSpPr>
        <p:spPr>
          <a:xfrm>
            <a:off x="8635183" y="6492132"/>
            <a:ext cx="2325432" cy="107722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>
                <a:latin typeface="Arial"/>
                <a:cs typeface="Arial"/>
              </a:rPr>
              <a:t>© 2025 Cellphire Therapeutics, Inc. | Non-Confidential </a:t>
            </a:r>
            <a:endParaRPr lang="en-US" sz="700"/>
          </a:p>
        </p:txBody>
      </p:sp>
    </p:spTree>
    <p:extLst>
      <p:ext uri="{BB962C8B-B14F-4D97-AF65-F5344CB8AC3E}">
        <p14:creationId xmlns:p14="http://schemas.microsoft.com/office/powerpoint/2010/main" val="34254447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oup of people in a room&#10;&#10;Description automatically generated">
            <a:extLst>
              <a:ext uri="{FF2B5EF4-FFF2-40B4-BE49-F238E27FC236}">
                <a16:creationId xmlns:a16="http://schemas.microsoft.com/office/drawing/2014/main" id="{A7DD1978-8702-96D1-A2D6-A708BB6761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5340" y="-28457"/>
            <a:ext cx="7516661" cy="688645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285115E-0A2C-98E1-5D57-7D78F1F829CD}"/>
              </a:ext>
            </a:extLst>
          </p:cNvPr>
          <p:cNvSpPr/>
          <p:nvPr userDrawn="1"/>
        </p:nvSpPr>
        <p:spPr>
          <a:xfrm>
            <a:off x="1" y="-14229"/>
            <a:ext cx="4539919" cy="68864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6AD28E5-78AC-2558-5532-09FF8A1FEE1D}"/>
              </a:ext>
            </a:extLst>
          </p:cNvPr>
          <p:cNvSpPr/>
          <p:nvPr userDrawn="1"/>
        </p:nvSpPr>
        <p:spPr>
          <a:xfrm>
            <a:off x="4138865" y="2679033"/>
            <a:ext cx="866275" cy="13956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8" name="Picture 7" descr="A purple and blue curves on a black background&#10;&#10;Description automatically generated">
            <a:extLst>
              <a:ext uri="{FF2B5EF4-FFF2-40B4-BE49-F238E27FC236}">
                <a16:creationId xmlns:a16="http://schemas.microsoft.com/office/drawing/2014/main" id="{F8E68455-CA32-E2F6-D311-C8C2DF545A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1026731" y="1346239"/>
            <a:ext cx="7628100" cy="4061247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C0970D13-EBB4-B15E-EEF3-AF62FA651E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745" y="3066481"/>
            <a:ext cx="3444612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3944700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C2DD36-2264-2FEB-305E-506B8815A2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3255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356682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4DB89B3-4E6A-0256-65D2-DDDF41BD9D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149475"/>
            <a:ext cx="5157787" cy="40401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372550-4E07-186E-37AC-9460F25FA5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3255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356682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41E7D83-40E2-3619-05E4-FCD432E23D2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149475"/>
            <a:ext cx="5183188" cy="40401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1892F6-41E5-4308-A1E2-F9E9EBFD8F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D347D-707D-4B4C-834D-8FACA04E9F09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3BD9ACE-2D84-5B7E-4E61-0E8506177A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6151" y="190834"/>
            <a:ext cx="10515600" cy="11235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266016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lick To Edit Master Title Style"/>
          <p:cNvSpPr txBox="1"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15" name="Body Level One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Click to edit master text styles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563715" y="891892"/>
            <a:ext cx="11051461" cy="369333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t>Click to edit master text styles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49299" y="6306625"/>
            <a:ext cx="8017331" cy="18466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800" b="0"/>
            </a:lvl1pPr>
          </a:lstStyle>
          <a:p>
            <a:r>
              <a:t>Sources and footnotes</a:t>
            </a:r>
          </a:p>
        </p:txBody>
      </p:sp>
    </p:spTree>
    <p:extLst>
      <p:ext uri="{BB962C8B-B14F-4D97-AF65-F5344CB8AC3E}">
        <p14:creationId xmlns:p14="http://schemas.microsoft.com/office/powerpoint/2010/main" val="1864420311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3717" y="496342"/>
            <a:ext cx="11051459" cy="369332"/>
          </a:xfrm>
        </p:spPr>
        <p:txBody>
          <a:bodyPr/>
          <a:lstStyle>
            <a:lvl1pPr>
              <a:lnSpc>
                <a:spcPct val="100000"/>
              </a:lnSpc>
              <a:defRPr sz="2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fld id="{F82AA240-EF9F-46CE-9076-02F2D9E7E2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08B778-17D5-23A6-FDDB-D4D391B1BA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716" y="929993"/>
            <a:ext cx="11051459" cy="36933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8EE92E-6375-E3AE-69E2-B53276507A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2404" y="6488409"/>
            <a:ext cx="6310606" cy="184665"/>
          </a:xfrm>
        </p:spPr>
        <p:txBody>
          <a:bodyPr anchor="ctr" anchorCtr="0"/>
          <a:lstStyle>
            <a:lvl1pPr>
              <a:lnSpc>
                <a:spcPct val="100000"/>
              </a:lnSpc>
              <a:defRPr sz="800" b="0">
                <a:solidFill>
                  <a:srgbClr val="000000"/>
                </a:solidFill>
              </a:defRPr>
            </a:lvl1pPr>
            <a:lvl2pPr>
              <a:lnSpc>
                <a:spcPct val="100000"/>
              </a:lnSpc>
              <a:defRPr sz="1067"/>
            </a:lvl2pPr>
            <a:lvl3pPr>
              <a:lnSpc>
                <a:spcPct val="100000"/>
              </a:lnSpc>
              <a:defRPr sz="1067"/>
            </a:lvl3pPr>
            <a:lvl4pPr>
              <a:lnSpc>
                <a:spcPct val="100000"/>
              </a:lnSpc>
              <a:defRPr sz="1067"/>
            </a:lvl4pPr>
            <a:lvl5pPr>
              <a:lnSpc>
                <a:spcPct val="100000"/>
              </a:lnSpc>
              <a:defRPr sz="1067"/>
            </a:lvl5pPr>
          </a:lstStyle>
          <a:p>
            <a:pPr lvl="0"/>
            <a:r>
              <a:rPr lang="en-US"/>
              <a:t>Sources and footnot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1E442B7-B51F-F585-2AE8-DE0007EB53D2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63715" y="1596150"/>
            <a:ext cx="11051459" cy="4673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2200" b="1" kern="1200" dirty="0">
                <a:solidFill>
                  <a:schemeClr val="bg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  <a:lvl2pPr>
              <a:defRPr lang="en-US" sz="1900" dirty="0">
                <a:latin typeface="Aptos" panose="020B0004020202020204" pitchFamily="34" charset="0"/>
              </a:defRPr>
            </a:lvl2pPr>
            <a:lvl3pPr>
              <a:defRPr lang="en-US" sz="1700" dirty="0">
                <a:latin typeface="Aptos" panose="020B0004020202020204" pitchFamily="34" charset="0"/>
              </a:defRPr>
            </a:lvl3pPr>
            <a:lvl4pPr>
              <a:defRPr lang="en-US" dirty="0">
                <a:latin typeface="Aptos" panose="020B0004020202020204" pitchFamily="34" charset="0"/>
              </a:defRPr>
            </a:lvl4pPr>
            <a:lvl5pPr>
              <a:defRPr lang="en-US" dirty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F060154-1D5A-422E-6D32-65F8EB08609E}"/>
              </a:ext>
            </a:extLst>
          </p:cNvPr>
          <p:cNvSpPr txBox="1"/>
          <p:nvPr userDrawn="1"/>
        </p:nvSpPr>
        <p:spPr>
          <a:xfrm>
            <a:off x="10100334" y="6488409"/>
            <a:ext cx="1701205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700"/>
              <a:t>Non-Confidential</a:t>
            </a:r>
          </a:p>
        </p:txBody>
      </p:sp>
    </p:spTree>
    <p:extLst>
      <p:ext uri="{BB962C8B-B14F-4D97-AF65-F5344CB8AC3E}">
        <p14:creationId xmlns:p14="http://schemas.microsoft.com/office/powerpoint/2010/main" val="3671007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C1CDA1F2-45CD-4172-B09C-F4116C6B8B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468712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0400" y="2787035"/>
            <a:ext cx="10355944" cy="689420"/>
          </a:xfrm>
        </p:spPr>
        <p:txBody>
          <a:bodyPr wrap="square" anchor="b">
            <a:spAutoFit/>
          </a:bodyPr>
          <a:lstStyle>
            <a:lvl1pPr algn="l">
              <a:lnSpc>
                <a:spcPct val="84000"/>
              </a:lnSpc>
              <a:defRPr sz="5333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60399" y="3861117"/>
            <a:ext cx="10355944" cy="649923"/>
          </a:xfrm>
        </p:spPr>
        <p:txBody>
          <a:bodyPr/>
          <a:lstStyle>
            <a:lvl1pPr marL="0" indent="0" algn="l">
              <a:buNone/>
              <a:defRPr sz="1333" b="1" cap="all" baseline="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MEETING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Cellphire, Inc.   Confidential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AA240-EF9F-46CE-9076-02F2D9E7E27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8F3BB6A-B315-4407-996C-4590705B0596}"/>
              </a:ext>
            </a:extLst>
          </p:cNvPr>
          <p:cNvCxnSpPr/>
          <p:nvPr userDrawn="1"/>
        </p:nvCxnSpPr>
        <p:spPr>
          <a:xfrm>
            <a:off x="660401" y="3668785"/>
            <a:ext cx="300838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887E27CF-ED54-49FB-94E3-B54F974B951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40" y="5497539"/>
            <a:ext cx="1253200" cy="693944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E13D017-58C3-4D5D-B87F-7A5714DEDF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33226" y="5811340"/>
            <a:ext cx="3757084" cy="240065"/>
          </a:xfrm>
        </p:spPr>
        <p:txBody>
          <a:bodyPr>
            <a:noAutofit/>
          </a:bodyPr>
          <a:lstStyle>
            <a:lvl1pPr>
              <a:defRPr sz="1733" b="0" cap="none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B42719B-A274-4D4F-9C7D-FD0706BF6B36}"/>
              </a:ext>
            </a:extLst>
          </p:cNvPr>
          <p:cNvCxnSpPr>
            <a:cxnSpLocks/>
          </p:cNvCxnSpPr>
          <p:nvPr userDrawn="1"/>
        </p:nvCxnSpPr>
        <p:spPr>
          <a:xfrm>
            <a:off x="3446223" y="5770697"/>
            <a:ext cx="0" cy="292608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49615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slideLayout" Target="../slideLayouts/slideLayout49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image" Target="../media/image6.emf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31" Type="http://schemas.openxmlformats.org/officeDocument/2006/relationships/image" Target="../media/image8.svg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tags" Target="../tags/tag1.xml"/><Relationship Id="rId30" Type="http://schemas.openxmlformats.org/officeDocument/2006/relationships/image" Target="../media/image7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oleObject" Target="../embeddings/oleObject3.bin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tags" Target="../tags/tag5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image" Target="../media/image4.png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image" Target="../media/image20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DCC8247-5D11-735F-27B2-06EA0127AC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65" y="365125"/>
            <a:ext cx="1109083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F70E6D-B03B-C9E3-8167-4682FF5028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2965" y="1825625"/>
            <a:ext cx="1109083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203021-2C0C-CFF2-B28E-5E3ACE0BDC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7905" y="5901531"/>
            <a:ext cx="3989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191C7FB-7256-45AB-8545-0DD6B0B3F0D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8679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6" r:id="rId3"/>
    <p:sldLayoutId id="2147483713" r:id="rId4"/>
    <p:sldLayoutId id="2147483765" r:id="rId5"/>
    <p:sldLayoutId id="2147483719" r:id="rId6"/>
    <p:sldLayoutId id="2147483766" r:id="rId7"/>
    <p:sldLayoutId id="2147483769" r:id="rId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1934"/>
          </a:solidFill>
          <a:latin typeface="Acumin Pro" panose="020B05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001934"/>
          </a:solidFill>
          <a:latin typeface="Acumin Pro" panose="020B05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001934"/>
          </a:solidFill>
          <a:latin typeface="Acumin Pro" panose="020B05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001934"/>
          </a:solidFill>
          <a:latin typeface="Acumin Pro" panose="020B05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1934"/>
          </a:solidFill>
          <a:latin typeface="Acumin Pro" panose="020B05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1934"/>
          </a:solidFill>
          <a:latin typeface="Acumin Pro" panose="020B05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C6C12F2-69A3-4461-A2CB-962F3F1BD9BF}"/>
              </a:ext>
            </a:extLst>
          </p:cNvPr>
          <p:cNvSpPr/>
          <p:nvPr userDrawn="1"/>
        </p:nvSpPr>
        <p:spPr>
          <a:xfrm>
            <a:off x="0" y="6060443"/>
            <a:ext cx="12192000" cy="7975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9933" y="496342"/>
            <a:ext cx="10838577" cy="36933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9933" y="1193801"/>
            <a:ext cx="9608192" cy="4673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81800" y="6398960"/>
            <a:ext cx="4114800" cy="14362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933">
                <a:solidFill>
                  <a:schemeClr val="tx1"/>
                </a:solidFill>
              </a:defRPr>
            </a:lvl1pPr>
          </a:lstStyle>
          <a:p>
            <a:r>
              <a:rPr lang="en-US"/>
              <a:t>© 2025 Cellphire, Inc.   Confidential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50251" y="6365545"/>
            <a:ext cx="330549" cy="1846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F82AA240-EF9F-46CE-9076-02F2D9E7E27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27743E6-6C9B-4041-AAE7-B859C139DAFF}"/>
              </a:ext>
            </a:extLst>
          </p:cNvPr>
          <p:cNvCxnSpPr>
            <a:cxnSpLocks/>
          </p:cNvCxnSpPr>
          <p:nvPr userDrawn="1"/>
        </p:nvCxnSpPr>
        <p:spPr>
          <a:xfrm>
            <a:off x="683260" y="932541"/>
            <a:ext cx="10815251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955173E2-3114-495F-A725-64E5E21482DD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130" y="6242781"/>
            <a:ext cx="744220" cy="412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5784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68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37" r:id="rId16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667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2400"/>
        </a:spcBef>
        <a:spcAft>
          <a:spcPts val="800"/>
        </a:spcAft>
        <a:buFont typeface="Arial" panose="020B0604020202020204" pitchFamily="34" charset="0"/>
        <a:buNone/>
        <a:defRPr sz="1600" b="1" kern="1200" cap="all" baseline="0">
          <a:solidFill>
            <a:schemeClr val="bg2"/>
          </a:solidFill>
          <a:latin typeface="+mn-lt"/>
          <a:ea typeface="+mn-ea"/>
          <a:cs typeface="+mn-cs"/>
        </a:defRPr>
      </a:lvl1pPr>
      <a:lvl2pPr marL="224361" indent="-224361" algn="l" defTabSz="914377" rtl="0" eaLnBrk="1" latinLnBrk="0" hangingPunct="1">
        <a:lnSpc>
          <a:spcPct val="90000"/>
        </a:lnSpc>
        <a:spcBef>
          <a:spcPts val="400"/>
        </a:spcBef>
        <a:buClr>
          <a:schemeClr val="bg2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459306" indent="-234945" algn="l" defTabSz="914377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1550" indent="-222245" algn="l" defTabSz="914377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4pPr>
      <a:lvl5pPr marL="916494" indent="-234945" algn="l" defTabSz="914377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64">
          <p15:clr>
            <a:srgbClr val="F26B43"/>
          </p15:clr>
        </p15:guide>
        <p15:guide id="2" pos="312">
          <p15:clr>
            <a:srgbClr val="F26B43"/>
          </p15:clr>
        </p15:guide>
        <p15:guide id="3" orient="horz" pos="2868">
          <p15:clr>
            <a:srgbClr val="F26B43"/>
          </p15:clr>
        </p15:guide>
        <p15:guide id="4" pos="5424">
          <p15:clr>
            <a:srgbClr val="F26B43"/>
          </p15:clr>
        </p15:guide>
        <p15:guide id="5" pos="4856">
          <p15:clr>
            <a:srgbClr val="F26B43"/>
          </p15:clr>
        </p15:guide>
        <p15:guide id="6" orient="horz" pos="277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7BC3482-CC98-41B4-82D8-4DF644565A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47" imgH="348" progId="TCLayout.ActiveDocument.1">
                  <p:embed/>
                </p:oleObj>
              </mc:Choice>
              <mc:Fallback>
                <p:oleObj name="think-cell Slide" r:id="rId28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7BC3482-CC98-41B4-82D8-4DF644565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9933" y="496342"/>
            <a:ext cx="10838577" cy="3693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9933" y="1193801"/>
            <a:ext cx="9608192" cy="4673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34887" y="6488410"/>
            <a:ext cx="330549" cy="1846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2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fld id="{F82AA240-EF9F-46CE-9076-02F2D9E7E27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1083C55-92BC-EAFB-DEAB-55CB3A7501BF}"/>
              </a:ext>
            </a:extLst>
          </p:cNvPr>
          <p:cNvCxnSpPr/>
          <p:nvPr userDrawn="1"/>
        </p:nvCxnSpPr>
        <p:spPr>
          <a:xfrm>
            <a:off x="0" y="6286344"/>
            <a:ext cx="121920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181C8F8-0F01-D63A-65A1-66C8888348FC}"/>
              </a:ext>
            </a:extLst>
          </p:cNvPr>
          <p:cNvCxnSpPr>
            <a:cxnSpLocks/>
          </p:cNvCxnSpPr>
          <p:nvPr userDrawn="1"/>
        </p:nvCxnSpPr>
        <p:spPr>
          <a:xfrm>
            <a:off x="679596" y="6286344"/>
            <a:ext cx="0" cy="571656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phic 12">
            <a:extLst>
              <a:ext uri="{FF2B5EF4-FFF2-40B4-BE49-F238E27FC236}">
                <a16:creationId xmlns:a16="http://schemas.microsoft.com/office/drawing/2014/main" id="{0A80F085-B769-5636-A7A4-BBCEF268E6E1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48708" y="6368893"/>
            <a:ext cx="748949" cy="41261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07D8FBA-5AE8-AC66-F69F-E753A0B7AEBE}"/>
              </a:ext>
            </a:extLst>
          </p:cNvPr>
          <p:cNvSpPr txBox="1"/>
          <p:nvPr userDrawn="1"/>
        </p:nvSpPr>
        <p:spPr>
          <a:xfrm>
            <a:off x="8675161" y="6473020"/>
            <a:ext cx="256857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2"/>
                </a:solidFill>
              </a:rPr>
              <a:t>© 2025 </a:t>
            </a:r>
            <a:r>
              <a:rPr lang="en-US" sz="800" err="1">
                <a:solidFill>
                  <a:schemeClr val="tx2"/>
                </a:solidFill>
              </a:rPr>
              <a:t>Cellphire</a:t>
            </a:r>
            <a:r>
              <a:rPr lang="en-US" sz="800">
                <a:solidFill>
                  <a:schemeClr val="tx2"/>
                </a:solidFill>
              </a:rPr>
              <a:t> Therapeutics, Inc. | Confidential    </a:t>
            </a:r>
          </a:p>
        </p:txBody>
      </p:sp>
    </p:spTree>
    <p:extLst>
      <p:ext uri="{BB962C8B-B14F-4D97-AF65-F5344CB8AC3E}">
        <p14:creationId xmlns:p14="http://schemas.microsoft.com/office/powerpoint/2010/main" val="1303372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80" r:id="rId2"/>
    <p:sldLayoutId id="2147483676" r:id="rId3"/>
    <p:sldLayoutId id="2147483677" r:id="rId4"/>
    <p:sldLayoutId id="2147483678" r:id="rId5"/>
    <p:sldLayoutId id="2147483679" r:id="rId6"/>
    <p:sldLayoutId id="2147483684" r:id="rId7"/>
    <p:sldLayoutId id="2147483718" r:id="rId8"/>
    <p:sldLayoutId id="2147483720" r:id="rId9"/>
    <p:sldLayoutId id="2147483721" r:id="rId10"/>
    <p:sldLayoutId id="2147483729" r:id="rId11"/>
    <p:sldLayoutId id="2147483748" r:id="rId12"/>
    <p:sldLayoutId id="2147483750" r:id="rId13"/>
    <p:sldLayoutId id="2147483751" r:id="rId14"/>
    <p:sldLayoutId id="2147483753" r:id="rId15"/>
    <p:sldLayoutId id="2147483778" r:id="rId16"/>
    <p:sldLayoutId id="2147483756" r:id="rId17"/>
    <p:sldLayoutId id="2147483776" r:id="rId18"/>
    <p:sldLayoutId id="2147483777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667" b="1" kern="1200">
          <a:solidFill>
            <a:schemeClr val="bg2"/>
          </a:solidFill>
          <a:latin typeface="Aptos" panose="020B0004020202020204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2400"/>
        </a:spcBef>
        <a:spcAft>
          <a:spcPts val="800"/>
        </a:spcAft>
        <a:buFont typeface="Arial" panose="020B0604020202020204" pitchFamily="34" charset="0"/>
        <a:buNone/>
        <a:defRPr sz="2000" b="1" kern="1200" cap="none" baseline="0">
          <a:solidFill>
            <a:schemeClr val="bg2"/>
          </a:solidFill>
          <a:latin typeface="+mn-lt"/>
          <a:ea typeface="+mn-ea"/>
          <a:cs typeface="+mn-cs"/>
        </a:defRPr>
      </a:lvl1pPr>
      <a:lvl2pPr marL="224361" indent="-224361" algn="l" defTabSz="914377" rtl="0" eaLnBrk="1" latinLnBrk="0" hangingPunct="1">
        <a:lnSpc>
          <a:spcPct val="90000"/>
        </a:lnSpc>
        <a:spcBef>
          <a:spcPts val="400"/>
        </a:spcBef>
        <a:buClr>
          <a:schemeClr val="bg2"/>
        </a:buClr>
        <a:buFont typeface="Arial" panose="020B0604020202020204" pitchFamily="34" charset="0"/>
        <a:buChar char="•"/>
        <a:defRPr sz="1867" kern="1200">
          <a:solidFill>
            <a:schemeClr val="tx2"/>
          </a:solidFill>
          <a:latin typeface="+mn-lt"/>
          <a:ea typeface="+mn-ea"/>
          <a:cs typeface="+mn-cs"/>
        </a:defRPr>
      </a:lvl2pPr>
      <a:lvl3pPr marL="459306" indent="-234945" algn="l" defTabSz="914377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867" kern="1200">
          <a:solidFill>
            <a:schemeClr val="tx2"/>
          </a:solidFill>
          <a:latin typeface="+mn-lt"/>
          <a:ea typeface="+mn-ea"/>
          <a:cs typeface="+mn-cs"/>
        </a:defRPr>
      </a:lvl3pPr>
      <a:lvl4pPr marL="681550" indent="-222245" algn="l" defTabSz="914377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916494" indent="-234945" algn="l" defTabSz="914377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467" kern="1200">
          <a:solidFill>
            <a:schemeClr val="tx2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CE9B5C3-4876-32B6-2FA5-69D8014640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81" imgH="381" progId="TCLayout.ActiveDocument.1">
                  <p:embed/>
                </p:oleObj>
              </mc:Choice>
              <mc:Fallback>
                <p:oleObj name="think-cell Slide" r:id="rId26" imgW="381" imgH="38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CE9B5C3-4876-32B6-2FA5-69D8014640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4C6C12F2-69A3-4461-A2CB-962F3F1BD9BF}"/>
              </a:ext>
            </a:extLst>
          </p:cNvPr>
          <p:cNvSpPr/>
          <p:nvPr userDrawn="1"/>
        </p:nvSpPr>
        <p:spPr>
          <a:xfrm>
            <a:off x="0" y="6060443"/>
            <a:ext cx="12192000" cy="7975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9933" y="496342"/>
            <a:ext cx="10838577" cy="36933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9933" y="1193801"/>
            <a:ext cx="9608192" cy="4673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81800" y="6398960"/>
            <a:ext cx="4114800" cy="14362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933">
                <a:solidFill>
                  <a:schemeClr val="tx1"/>
                </a:solidFill>
              </a:defRPr>
            </a:lvl1pPr>
          </a:lstStyle>
          <a:p>
            <a:r>
              <a:rPr lang="en-US"/>
              <a:t>© 2026 Cellphire, Inc.   Confidential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50251" y="6365545"/>
            <a:ext cx="330549" cy="1846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F82AA240-EF9F-46CE-9076-02F2D9E7E27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27743E6-6C9B-4041-AAE7-B859C139DAFF}"/>
              </a:ext>
            </a:extLst>
          </p:cNvPr>
          <p:cNvCxnSpPr>
            <a:cxnSpLocks/>
          </p:cNvCxnSpPr>
          <p:nvPr userDrawn="1"/>
        </p:nvCxnSpPr>
        <p:spPr>
          <a:xfrm>
            <a:off x="683260" y="932541"/>
            <a:ext cx="10815251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955173E2-3114-495F-A725-64E5E21482DD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130" y="6242781"/>
            <a:ext cx="744220" cy="412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272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57" r:id="rId12"/>
    <p:sldLayoutId id="2147483758" r:id="rId13"/>
    <p:sldLayoutId id="2147483754" r:id="rId14"/>
    <p:sldLayoutId id="2147483755" r:id="rId15"/>
    <p:sldLayoutId id="2147483722" r:id="rId16"/>
    <p:sldLayoutId id="2147483723" r:id="rId17"/>
    <p:sldLayoutId id="2147483770" r:id="rId18"/>
    <p:sldLayoutId id="2147483771" r:id="rId19"/>
    <p:sldLayoutId id="2147483772" r:id="rId20"/>
    <p:sldLayoutId id="2147483773" r:id="rId21"/>
    <p:sldLayoutId id="2147483774" r:id="rId22"/>
    <p:sldLayoutId id="2147483775" r:id="rId23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667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2400"/>
        </a:spcBef>
        <a:spcAft>
          <a:spcPts val="800"/>
        </a:spcAft>
        <a:buFont typeface="Arial" panose="020B0604020202020204" pitchFamily="34" charset="0"/>
        <a:buNone/>
        <a:defRPr sz="1600" b="1" kern="1200" cap="all" baseline="0">
          <a:solidFill>
            <a:schemeClr val="bg2"/>
          </a:solidFill>
          <a:latin typeface="+mn-lt"/>
          <a:ea typeface="+mn-ea"/>
          <a:cs typeface="+mn-cs"/>
        </a:defRPr>
      </a:lvl1pPr>
      <a:lvl2pPr marL="224361" indent="-224361" algn="l" defTabSz="914377" rtl="0" eaLnBrk="1" latinLnBrk="0" hangingPunct="1">
        <a:lnSpc>
          <a:spcPct val="90000"/>
        </a:lnSpc>
        <a:spcBef>
          <a:spcPts val="400"/>
        </a:spcBef>
        <a:buClr>
          <a:schemeClr val="bg2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459306" indent="-234945" algn="l" defTabSz="914377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1550" indent="-222245" algn="l" defTabSz="914377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4pPr>
      <a:lvl5pPr marL="916494" indent="-234945" algn="l" defTabSz="914377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64">
          <p15:clr>
            <a:srgbClr val="F26B43"/>
          </p15:clr>
        </p15:guide>
        <p15:guide id="2" pos="312">
          <p15:clr>
            <a:srgbClr val="F26B43"/>
          </p15:clr>
        </p15:guide>
        <p15:guide id="3" orient="horz" pos="2868">
          <p15:clr>
            <a:srgbClr val="F26B43"/>
          </p15:clr>
        </p15:guide>
        <p15:guide id="4" pos="5424">
          <p15:clr>
            <a:srgbClr val="F26B43"/>
          </p15:clr>
        </p15:guide>
        <p15:guide id="5" pos="4856">
          <p15:clr>
            <a:srgbClr val="F26B43"/>
          </p15:clr>
        </p15:guide>
        <p15:guide id="6" orient="horz" pos="27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americasblood.org/abc-newsletter/2023-nbcus-data-findings/?utm_source=chatgpt.com" TargetMode="External"/><Relationship Id="rId7" Type="http://schemas.openxmlformats.org/officeDocument/2006/relationships/image" Target="../media/image23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5.xml"/><Relationship Id="rId6" Type="http://schemas.openxmlformats.org/officeDocument/2006/relationships/hyperlink" Target="https://onlinelibrary.wiley.com/doi/full/10.1111/trf.16561" TargetMode="External"/><Relationship Id="rId5" Type="http://schemas.openxmlformats.org/officeDocument/2006/relationships/hyperlink" Target="https://transfusionnews.com/2021/08/03/u-s-national-platelet-inventory-and-transfusion-practice-survey/?utm_source=chatgpt.com" TargetMode="External"/><Relationship Id="rId4" Type="http://schemas.openxmlformats.org/officeDocument/2006/relationships/hyperlink" Target="https://www.uab.edu/news/research-innovation/research-shows-u-s-ability-to-treat-patients-who-require-blood-on-any-given-day-in-peril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47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FFAD_F2725AF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5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920EF3-30E9-92D4-8A77-6DA2DB6837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53379" y="1465775"/>
            <a:ext cx="5815832" cy="1804217"/>
          </a:xfrm>
        </p:spPr>
        <p:txBody>
          <a:bodyPr>
            <a:normAutofit/>
          </a:bodyPr>
          <a:lstStyle/>
          <a:p>
            <a:pPr algn="ctr"/>
            <a:r>
              <a:rPr lang="en-US" b="1" err="1">
                <a:solidFill>
                  <a:schemeClr val="bg1"/>
                </a:solidFill>
              </a:rPr>
              <a:t>Cellphire</a:t>
            </a:r>
            <a:r>
              <a:rPr lang="en-US" b="1">
                <a:solidFill>
                  <a:schemeClr val="bg1"/>
                </a:solidFill>
              </a:rPr>
              <a:t> Therapeutic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82CEC6-A160-7392-46DA-6E64A66B72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40670" y="3429000"/>
            <a:ext cx="5528541" cy="1500187"/>
          </a:xfrm>
        </p:spPr>
        <p:txBody>
          <a:bodyPr vert="horz" lIns="91440" tIns="45720" rIns="91440" bIns="45720" rtlCol="0" anchor="t">
            <a:normAutofit fontScale="55000" lnSpcReduction="20000"/>
          </a:bodyPr>
          <a:lstStyle/>
          <a:p>
            <a:pPr>
              <a:spcBef>
                <a:spcPct val="0"/>
              </a:spcBef>
              <a:defRPr/>
            </a:pPr>
            <a:r>
              <a:rPr lang="en-US" sz="3800" dirty="0">
                <a:solidFill>
                  <a:schemeClr val="bg1"/>
                </a:solidFill>
                <a:latin typeface="Acumin Pro"/>
              </a:rPr>
              <a:t>“Harnessing platelets' unique biology to save lives”</a:t>
            </a:r>
            <a:r>
              <a:rPr lang="en-US" sz="3100" dirty="0">
                <a:latin typeface="Acumin Pro"/>
              </a:rPr>
              <a:t>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3100">
              <a:solidFill>
                <a:schemeClr val="bg1"/>
              </a:solidFill>
            </a:endParaRPr>
          </a:p>
          <a:p>
            <a:r>
              <a:rPr lang="en-US" sz="3600" dirty="0">
                <a:solidFill>
                  <a:schemeClr val="bg1"/>
                </a:solidFill>
                <a:latin typeface="Acumin Pro"/>
              </a:rPr>
              <a:t>Joseph Rappold, MD, FACS</a:t>
            </a:r>
          </a:p>
          <a:p>
            <a:r>
              <a:rPr lang="en-US" sz="3600" dirty="0">
                <a:solidFill>
                  <a:schemeClr val="bg1"/>
                </a:solidFill>
                <a:latin typeface="Acumin Pro"/>
              </a:rPr>
              <a:t>jrappold@cellphire.com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551D2B4-0B17-7335-0E1B-75C3821F5E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912537" cy="1067615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5000"/>
                  <a:lumOff val="95000"/>
                </a:schemeClr>
              </a:gs>
              <a:gs pos="74000">
                <a:schemeClr val="accent4">
                  <a:lumMod val="45000"/>
                  <a:lumOff val="55000"/>
                </a:schemeClr>
              </a:gs>
              <a:gs pos="83000">
                <a:schemeClr val="accent4">
                  <a:lumMod val="45000"/>
                  <a:lumOff val="55000"/>
                </a:schemeClr>
              </a:gs>
              <a:gs pos="100000">
                <a:schemeClr val="accent4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gradFill flip="none" rotWithShape="1">
              <a:gsLst>
                <a:gs pos="0">
                  <a:schemeClr val="accent1">
                    <a:lumMod val="40000"/>
                    <a:lumOff val="60000"/>
                  </a:schemeClr>
                </a:gs>
                <a:gs pos="46000">
                  <a:schemeClr val="accent1">
                    <a:lumMod val="95000"/>
                    <a:lumOff val="5000"/>
                  </a:schemeClr>
                </a:gs>
                <a:gs pos="100000">
                  <a:schemeClr val="accent1">
                    <a:lumMod val="60000"/>
                  </a:schemeClr>
                </a:gs>
              </a:gsLst>
              <a:path path="circle">
                <a:fillToRect l="50000" t="130000" r="50000" b="-30000"/>
              </a:path>
              <a:tileRect/>
            </a:gradFill>
          </a:ln>
        </p:spPr>
      </p:pic>
    </p:spTree>
    <p:extLst>
      <p:ext uri="{BB962C8B-B14F-4D97-AF65-F5344CB8AC3E}">
        <p14:creationId xmlns:p14="http://schemas.microsoft.com/office/powerpoint/2010/main" val="616868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EFD871-3359-01DD-ADBE-A9A3A814EE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3C904BE-9644-D2C1-8A0F-250413A41A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528" y="231443"/>
            <a:ext cx="11051459" cy="369332"/>
          </a:xfrm>
        </p:spPr>
        <p:txBody>
          <a:bodyPr/>
          <a:lstStyle/>
          <a:p>
            <a:r>
              <a:rPr lang="en-US" sz="2400">
                <a:latin typeface="Arial"/>
                <a:cs typeface="Arial"/>
              </a:rPr>
              <a:t>The Critical Challenge: Platelet Shortages &amp; Rationing Impacting Patient Care &amp; Putting Strain on Hospitals</a:t>
            </a:r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6816A34-D50B-A99E-20AB-D7BCD2E22A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22537" y="1929285"/>
            <a:ext cx="5297341" cy="3188606"/>
          </a:xfrm>
        </p:spPr>
        <p:txBody>
          <a:bodyPr vert="horz" lIns="0" tIns="0" rIns="0" bIns="0" rtlCol="0" anchor="t">
            <a:noAutofit/>
          </a:bodyPr>
          <a:lstStyle/>
          <a:p>
            <a:pPr marL="228600" indent="-2286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>
                <a:latin typeface="Arial"/>
                <a:cs typeface="Arial"/>
              </a:rPr>
              <a:t>&gt;Every year, US hospitals waste more than $240M on expired platelets</a:t>
            </a:r>
            <a:r>
              <a:rPr lang="en-US" sz="1600" baseline="30000">
                <a:latin typeface="Arial"/>
                <a:cs typeface="Arial"/>
              </a:rPr>
              <a:t>2</a:t>
            </a:r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>
                <a:latin typeface="Arial"/>
                <a:cs typeface="Arial"/>
              </a:rPr>
              <a:t>~33% of Hospitals have no platelets</a:t>
            </a:r>
            <a:r>
              <a:rPr lang="en-US" sz="1600" baseline="30000">
                <a:latin typeface="Arial"/>
                <a:cs typeface="Arial"/>
              </a:rPr>
              <a:t>3</a:t>
            </a:r>
          </a:p>
          <a:p>
            <a:pPr marL="224155" lvl="1" indent="-22415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>
                <a:latin typeface="Arial"/>
                <a:cs typeface="Arial"/>
              </a:rPr>
              <a:t>Clinical disparities in “trauma deserts”</a:t>
            </a:r>
          </a:p>
          <a:p>
            <a:pPr marL="224155" lvl="1" indent="-22415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>
                <a:latin typeface="Arial"/>
                <a:cs typeface="Arial"/>
              </a:rPr>
              <a:t>Air transport of patients in severe bleeding situations</a:t>
            </a:r>
          </a:p>
          <a:p>
            <a:pPr marL="224155" lvl="1" indent="-22415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>
                <a:latin typeface="Arial"/>
                <a:cs typeface="Arial"/>
              </a:rPr>
              <a:t>Eliminates participation in key lines of business (e.g.,  procedures, Labor &amp; Delivery)</a:t>
            </a:r>
          </a:p>
          <a:p>
            <a:pPr marL="0" lvl="1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600" b="1">
                <a:latin typeface="Arial"/>
                <a:cs typeface="Arial"/>
              </a:rPr>
              <a:t>Rationing dynamics</a:t>
            </a:r>
            <a:endParaRPr lang="en-US" sz="1600">
              <a:latin typeface="Arial"/>
              <a:cs typeface="Arial"/>
            </a:endParaRPr>
          </a:p>
          <a:p>
            <a:pPr marL="224155" lvl="1" indent="-22415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>
                <a:latin typeface="Arial"/>
                <a:cs typeface="Arial"/>
              </a:rPr>
              <a:t>Delayed prophylactic procedures</a:t>
            </a:r>
            <a:r>
              <a:rPr lang="en-US" sz="1600" baseline="30000">
                <a:latin typeface="Arial"/>
                <a:cs typeface="Arial"/>
              </a:rPr>
              <a:t>4</a:t>
            </a:r>
          </a:p>
          <a:p>
            <a:pPr marL="224155" lvl="1" indent="-22415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>
                <a:latin typeface="Arial"/>
                <a:cs typeface="Arial"/>
              </a:rPr>
              <a:t>Unpredictable supply from blood centers</a:t>
            </a:r>
            <a:r>
              <a:rPr lang="en-US" sz="1600" baseline="30000">
                <a:latin typeface="Arial"/>
                <a:cs typeface="Arial"/>
              </a:rPr>
              <a:t>5</a:t>
            </a:r>
          </a:p>
          <a:p>
            <a:pPr marL="224155" lvl="1" indent="-22415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>
                <a:latin typeface="Arial"/>
                <a:cs typeface="Arial"/>
              </a:rPr>
              <a:t>Patients receive lower-than-standard doses</a:t>
            </a:r>
            <a:r>
              <a:rPr lang="en-US" sz="1600" baseline="30000">
                <a:latin typeface="Arial"/>
                <a:cs typeface="Arial"/>
              </a:rPr>
              <a:t>6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45C9EF-C21A-27AC-EB3C-83662FE9EC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2AA240-EF9F-46CE-9076-02F2D9E7E27F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6AEC7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6AEC7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0E65E86-8FFB-0A31-C3F5-0267E36F3C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2528" y="999796"/>
            <a:ext cx="11051459" cy="369332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>
                <a:latin typeface="Aptos"/>
              </a:rPr>
              <a:t>Inherent nature of RTP </a:t>
            </a:r>
            <a:r>
              <a:rPr lang="en-US" sz="1600">
                <a:latin typeface="Arial"/>
                <a:cs typeface="Arial"/>
              </a:rPr>
              <a:t>Short</a:t>
            </a:r>
            <a:r>
              <a:rPr lang="en-US" sz="1600">
                <a:latin typeface="Aptos"/>
              </a:rPr>
              <a:t> Shelf Life has broad implication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3A965EE-ACA0-8AD5-5C3B-5DE9D0DFB61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87353" y="6277543"/>
            <a:ext cx="11306882" cy="534473"/>
          </a:xfrm>
          <a:solidFill>
            <a:schemeClr val="bg1"/>
          </a:solidFill>
        </p:spPr>
        <p:txBody>
          <a:bodyPr vert="horz" lIns="0" tIns="0" rIns="0" bIns="0" rtlCol="0" anchor="t">
            <a:noAutofit/>
          </a:bodyPr>
          <a:lstStyle/>
          <a:p>
            <a:pPr marL="22860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600" b="0">
                <a:solidFill>
                  <a:schemeClr val="tx2"/>
                </a:solidFill>
                <a:ea typeface="+mn-lt"/>
                <a:cs typeface="+mn-lt"/>
              </a:rPr>
              <a:t>Source: NEJM - Riley, et al, “Ensuring a Reliable Platelet Supply in the United States.” NEJM. 2023, Gehrie, et al, Transfusion 2024, 64: 2001-2013.</a:t>
            </a:r>
            <a:endParaRPr lang="en-US">
              <a:solidFill>
                <a:schemeClr val="tx2"/>
              </a:solidFill>
            </a:endParaRPr>
          </a:p>
          <a:p>
            <a:pPr marL="22860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600" b="0">
                <a:solidFill>
                  <a:schemeClr val="tx2"/>
                </a:solidFill>
                <a:ea typeface="+mn-lt"/>
                <a:cs typeface="+mn-lt"/>
              </a:rPr>
              <a:t>NBCUS- </a:t>
            </a:r>
            <a:r>
              <a:rPr lang="en-US" sz="600" b="0">
                <a:solidFill>
                  <a:schemeClr val="tx2"/>
                </a:solidFill>
                <a:ea typeface="+mn-lt"/>
                <a:cs typeface="+mn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2023 NBCUS Data Findings on Blood Collection &amp; Donation Trends</a:t>
            </a:r>
            <a:r>
              <a:rPr lang="en-US" sz="600" b="0">
                <a:solidFill>
                  <a:schemeClr val="tx2"/>
                </a:solidFill>
                <a:latin typeface="Arial"/>
                <a:cs typeface="Arial"/>
              </a:rPr>
              <a:t> </a:t>
            </a:r>
            <a:endParaRPr lang="en-US">
              <a:solidFill>
                <a:schemeClr val="tx2"/>
              </a:solidFill>
            </a:endParaRPr>
          </a:p>
          <a:p>
            <a:pPr marL="22860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600" b="0">
                <a:solidFill>
                  <a:schemeClr val="tx2"/>
                </a:solidFill>
                <a:ea typeface="+mn-lt"/>
                <a:cs typeface="+mn-lt"/>
              </a:rPr>
              <a:t>33% hospital </a:t>
            </a:r>
            <a:r>
              <a:rPr lang="en-US" sz="600" b="0">
                <a:solidFill>
                  <a:schemeClr val="tx2"/>
                </a:solidFill>
                <a:ea typeface="+mn-lt"/>
                <a:cs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search shows U.S. ability to treat patients who require blood on any given day in peril | UAB News</a:t>
            </a:r>
            <a:r>
              <a:rPr lang="en-US" sz="600" b="0">
                <a:solidFill>
                  <a:schemeClr val="tx2"/>
                </a:solidFill>
                <a:ea typeface="+mn-lt"/>
                <a:cs typeface="+mn-lt"/>
              </a:rPr>
              <a:t>.</a:t>
            </a:r>
            <a:endParaRPr lang="en-US">
              <a:solidFill>
                <a:schemeClr val="tx2"/>
              </a:solidFill>
            </a:endParaRPr>
          </a:p>
          <a:p>
            <a:pPr marL="22860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600" b="0">
                <a:solidFill>
                  <a:schemeClr val="tx2"/>
                </a:solidFill>
                <a:ea typeface="+mn-lt"/>
                <a:cs typeface="+mn-lt"/>
              </a:rPr>
              <a:t>Delayed surgeries </a:t>
            </a:r>
            <a:r>
              <a:rPr lang="en-US" sz="600" b="0">
                <a:solidFill>
                  <a:schemeClr val="tx2"/>
                </a:solidFill>
                <a:ea typeface="+mn-lt"/>
                <a:cs typeface="+mn-l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.S. National Platelet Inventory and Transfusion Practice Survey - Transfusion News</a:t>
            </a:r>
            <a:r>
              <a:rPr lang="en-US" sz="600" b="0">
                <a:solidFill>
                  <a:schemeClr val="tx2"/>
                </a:solidFill>
                <a:latin typeface="Arial"/>
                <a:cs typeface="Arial"/>
              </a:rPr>
              <a:t> </a:t>
            </a:r>
            <a:endParaRPr lang="en-US">
              <a:solidFill>
                <a:schemeClr val="tx2"/>
              </a:solidFill>
            </a:endParaRPr>
          </a:p>
          <a:p>
            <a:pPr marL="22860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600" b="0">
                <a:solidFill>
                  <a:schemeClr val="tx2"/>
                </a:solidFill>
                <a:ea typeface="+mn-lt"/>
                <a:cs typeface="+mn-lt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andey S, Gelanger GA, Rajbhandary, Cohn CS, et al.  A survey of US hospitals on platelet inventory management, transfusion practice, and platelet availability.  Transfusion 2021</a:t>
            </a:r>
            <a:r>
              <a:rPr lang="en-US" sz="600" b="0">
                <a:solidFill>
                  <a:schemeClr val="tx2"/>
                </a:solidFill>
                <a:latin typeface="Arial"/>
                <a:cs typeface="Arial"/>
              </a:rPr>
              <a:t> </a:t>
            </a:r>
            <a:endParaRPr lang="en-US">
              <a:solidFill>
                <a:schemeClr val="tx2"/>
              </a:solidFill>
            </a:endParaRPr>
          </a:p>
          <a:p>
            <a:pPr marL="22860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600" b="0">
                <a:solidFill>
                  <a:schemeClr val="tx2"/>
                </a:solidFill>
                <a:ea typeface="+mn-lt"/>
                <a:cs typeface="+mn-lt"/>
              </a:rPr>
              <a:t>Doughty H, Green L, Callum J, Murphy MF; National Blood Transfusion Committee. Guidance from the National Blood Transfusion Committee. Br J </a:t>
            </a:r>
            <a:r>
              <a:rPr lang="en-US" sz="600" b="0" err="1">
                <a:solidFill>
                  <a:schemeClr val="tx2"/>
                </a:solidFill>
                <a:ea typeface="+mn-lt"/>
                <a:cs typeface="+mn-lt"/>
              </a:rPr>
              <a:t>Haematol</a:t>
            </a:r>
            <a:r>
              <a:rPr lang="en-US" sz="600" b="0">
                <a:solidFill>
                  <a:schemeClr val="tx2"/>
                </a:solidFill>
                <a:ea typeface="+mn-lt"/>
                <a:cs typeface="+mn-lt"/>
              </a:rPr>
              <a:t>. 2020;191(3):340-346. doi:10.1111/bjh.16736</a:t>
            </a:r>
            <a:r>
              <a:rPr lang="en-US" sz="600" b="0">
                <a:solidFill>
                  <a:schemeClr val="tx2"/>
                </a:solidFill>
                <a:latin typeface="Arial"/>
                <a:cs typeface="Arial"/>
              </a:rPr>
              <a:t> </a:t>
            </a:r>
            <a:endParaRPr lang="en-US">
              <a:solidFill>
                <a:schemeClr val="tx2"/>
              </a:solidFill>
            </a:endParaRPr>
          </a:p>
          <a:p>
            <a:endParaRPr lang="en-US"/>
          </a:p>
          <a:p>
            <a:endParaRPr lang="en-US" sz="800" b="0">
              <a:solidFill>
                <a:schemeClr val="tx2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1606D30-D713-10B6-BCB3-CA0329E90BD0}"/>
              </a:ext>
            </a:extLst>
          </p:cNvPr>
          <p:cNvSpPr txBox="1"/>
          <p:nvPr/>
        </p:nvSpPr>
        <p:spPr>
          <a:xfrm>
            <a:off x="729732" y="1922270"/>
            <a:ext cx="5354528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545859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rPr>
              <a:t>The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NEW ENGLAND JOURNAL </a:t>
            </a: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rPr>
              <a:t>of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MEDICIN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AEB0B75-4854-534E-EA99-F39BDAE49F4A}"/>
              </a:ext>
            </a:extLst>
          </p:cNvPr>
          <p:cNvSpPr txBox="1"/>
          <p:nvPr/>
        </p:nvSpPr>
        <p:spPr>
          <a:xfrm>
            <a:off x="5270695" y="2317313"/>
            <a:ext cx="657231" cy="184666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June,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23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C558148-8CF8-E3EB-9753-C9D7F3956D3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2116" y="3231736"/>
            <a:ext cx="5514895" cy="2516409"/>
          </a:xfrm>
          <a:prstGeom prst="rect">
            <a:avLst/>
          </a:prstGeom>
        </p:spPr>
      </p:pic>
      <p:sp>
        <p:nvSpPr>
          <p:cNvPr id="5" name="Round Diagonal Corner Rectangle 22">
            <a:extLst>
              <a:ext uri="{FF2B5EF4-FFF2-40B4-BE49-F238E27FC236}">
                <a16:creationId xmlns:a16="http://schemas.microsoft.com/office/drawing/2014/main" id="{9D149119-E282-AC6A-82D7-28EA73254A56}"/>
              </a:ext>
            </a:extLst>
          </p:cNvPr>
          <p:cNvSpPr/>
          <p:nvPr/>
        </p:nvSpPr>
        <p:spPr>
          <a:xfrm>
            <a:off x="583734" y="1419741"/>
            <a:ext cx="5559111" cy="492442"/>
          </a:xfrm>
          <a:prstGeom prst="round2DiagRect">
            <a:avLst>
              <a:gd name="adj1" fmla="val 31879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ound Diagonal Corner Rectangle 34">
            <a:extLst>
              <a:ext uri="{FF2B5EF4-FFF2-40B4-BE49-F238E27FC236}">
                <a16:creationId xmlns:a16="http://schemas.microsoft.com/office/drawing/2014/main" id="{814E921E-B810-EBB0-0E35-8021B22E3B3F}"/>
              </a:ext>
            </a:extLst>
          </p:cNvPr>
          <p:cNvSpPr/>
          <p:nvPr/>
        </p:nvSpPr>
        <p:spPr>
          <a:xfrm>
            <a:off x="6235502" y="1368489"/>
            <a:ext cx="5479572" cy="543694"/>
          </a:xfrm>
          <a:prstGeom prst="round2DiagRect">
            <a:avLst>
              <a:gd name="adj1" fmla="val 357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F2C9BF4-4197-7887-CF45-675DFAF9C268}"/>
              </a:ext>
            </a:extLst>
          </p:cNvPr>
          <p:cNvSpPr txBox="1"/>
          <p:nvPr/>
        </p:nvSpPr>
        <p:spPr>
          <a:xfrm>
            <a:off x="727368" y="1499167"/>
            <a:ext cx="4968448" cy="400110"/>
          </a:xfrm>
          <a:prstGeom prst="rect">
            <a:avLst/>
          </a:prstGeom>
          <a:noFill/>
        </p:spPr>
        <p:txBody>
          <a:bodyPr wrap="square" lIns="121920" tIns="60960" rIns="121920" bIns="60960" anchor="t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Impact on patient </a:t>
            </a:r>
            <a:r>
              <a:rPr lang="en-US" b="1">
                <a:solidFill>
                  <a:prstClr val="white"/>
                </a:solidFill>
                <a:latin typeface="Arial"/>
                <a:cs typeface="Arial"/>
              </a:rPr>
              <a:t>care</a:t>
            </a:r>
            <a:r>
              <a:rPr lang="en-US" b="1" baseline="30000">
                <a:solidFill>
                  <a:prstClr val="white"/>
                </a:solidFill>
                <a:latin typeface="Arial"/>
                <a:cs typeface="Arial"/>
              </a:rPr>
              <a:t>1</a:t>
            </a:r>
            <a:endParaRPr lang="en-US" sz="1800" b="1" i="0" u="none" strike="noStrike" kern="1200" cap="none" spc="0" normalizeH="0" baseline="3000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D09A7E8-479C-732B-27C4-1338985B4E97}"/>
              </a:ext>
            </a:extLst>
          </p:cNvPr>
          <p:cNvSpPr txBox="1"/>
          <p:nvPr/>
        </p:nvSpPr>
        <p:spPr>
          <a:xfrm>
            <a:off x="6398901" y="1502806"/>
            <a:ext cx="5163637" cy="3693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>
              <a:defRPr/>
            </a:pPr>
            <a:r>
              <a:rPr lang="en-US" sz="1800" b="1">
                <a:solidFill>
                  <a:prstClr val="white"/>
                </a:solidFill>
                <a:latin typeface="Arial"/>
                <a:cs typeface="Arial"/>
              </a:rPr>
              <a:t>Systemic </a:t>
            </a:r>
            <a:r>
              <a:rPr lang="en-US" b="1">
                <a:solidFill>
                  <a:prstClr val="white"/>
                </a:solidFill>
                <a:latin typeface="Arial"/>
                <a:cs typeface="Arial"/>
              </a:rPr>
              <a:t>strains </a:t>
            </a:r>
            <a:endParaRPr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0909F5D-4583-6BF9-9A31-B4A1A8370793}"/>
              </a:ext>
            </a:extLst>
          </p:cNvPr>
          <p:cNvSpPr txBox="1"/>
          <p:nvPr/>
        </p:nvSpPr>
        <p:spPr>
          <a:xfrm>
            <a:off x="1725078" y="5846202"/>
            <a:ext cx="8403110" cy="37343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 lIns="91440" tIns="45720" rIns="91440" bIns="45720" anchor="t">
            <a:spAutoFit/>
          </a:bodyPr>
          <a:lstStyle/>
          <a:p>
            <a:pPr marL="0" marR="0" lvl="1" indent="0" algn="ctr" defTabSz="914377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rgbClr val="50037F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Current supply impacts clinical practice &amp; can lead to suboptimal care </a:t>
            </a:r>
            <a:endParaRPr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85977CE-1C27-33F0-97D2-C9F0ECF8343B}"/>
              </a:ext>
            </a:extLst>
          </p:cNvPr>
          <p:cNvSpPr txBox="1"/>
          <p:nvPr/>
        </p:nvSpPr>
        <p:spPr>
          <a:xfrm>
            <a:off x="737056" y="2544724"/>
            <a:ext cx="4572906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sz="1400" b="1">
                <a:solidFill>
                  <a:srgbClr val="E59F3E"/>
                </a:solidFill>
                <a:latin typeface="Arial"/>
                <a:cs typeface="Arial"/>
              </a:rPr>
              <a:t>Higher use= bigger impact</a:t>
            </a:r>
            <a:endParaRPr kumimoji="0" lang="en-US" sz="1400" b="1" i="1" u="none" strike="noStrike" kern="1200" cap="none" spc="0" normalizeH="0" baseline="0" noProof="0">
              <a:ln>
                <a:noFill/>
              </a:ln>
              <a:solidFill>
                <a:srgbClr val="E59F3E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9A80F80-865B-4AC4-5532-4D453AB26190}"/>
              </a:ext>
            </a:extLst>
          </p:cNvPr>
          <p:cNvSpPr txBox="1"/>
          <p:nvPr/>
        </p:nvSpPr>
        <p:spPr>
          <a:xfrm>
            <a:off x="672587" y="2974761"/>
            <a:ext cx="474511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545859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ospitals with medium platelet use vs. Hospitals with high platelet use</a:t>
            </a:r>
          </a:p>
        </p:txBody>
      </p:sp>
    </p:spTree>
    <p:extLst>
      <p:ext uri="{BB962C8B-B14F-4D97-AF65-F5344CB8AC3E}">
        <p14:creationId xmlns:p14="http://schemas.microsoft.com/office/powerpoint/2010/main" val="4075480630"/>
      </p:ext>
    </p:extLst>
  </p:cSld>
  <p:clrMapOvr>
    <a:masterClrMapping/>
  </p:clrMapOvr>
  <p:transition spd="slow"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EA9322-2EC1-C679-3698-3D4B1DB064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D3A023-42B5-E038-5C03-B08DA85E4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4887" y="6541586"/>
            <a:ext cx="330549" cy="131489"/>
          </a:xfrm>
        </p:spPr>
        <p:txBody>
          <a:bodyPr/>
          <a:lstStyle/>
          <a:p>
            <a:fld id="{F82AA240-EF9F-46CE-9076-02F2D9E7E27F}" type="slidenum">
              <a:rPr lang="en-US" b="1" smtClean="0">
                <a:solidFill>
                  <a:schemeClr val="accent2"/>
                </a:solidFill>
              </a:rPr>
              <a:t>3</a:t>
            </a:fld>
            <a:endParaRPr lang="en-US" b="1">
              <a:solidFill>
                <a:schemeClr val="accent2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B410B65-8FC7-DF90-313E-B851966B5BA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3716" y="870033"/>
            <a:ext cx="11051459" cy="369332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>
                <a:latin typeface="Aptos"/>
              </a:rPr>
              <a:t>Commercially scalable, biologic quality platelets with a 5-year shelf life</a:t>
            </a:r>
            <a:endParaRPr lang="en-US" sz="160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3A37BC0-152D-12C9-DFAE-A597593D0710}"/>
              </a:ext>
            </a:extLst>
          </p:cNvPr>
          <p:cNvSpPr txBox="1"/>
          <p:nvPr/>
        </p:nvSpPr>
        <p:spPr>
          <a:xfrm>
            <a:off x="812097" y="1994201"/>
            <a:ext cx="5666304" cy="337637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94005" lvl="1" indent="-285750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en-US">
                <a:solidFill>
                  <a:schemeClr val="tx2"/>
                </a:solidFill>
                <a:latin typeface="Aptos"/>
              </a:rPr>
              <a:t>5-year shelf life vs. 7 days for RTPs</a:t>
            </a:r>
          </a:p>
          <a:p>
            <a:pPr marL="294005" lvl="1" indent="-285750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en-US">
                <a:solidFill>
                  <a:schemeClr val="tx2"/>
                </a:solidFill>
                <a:latin typeface="Aptos"/>
              </a:rPr>
              <a:t>Phase 2/3 CRYPTICS trial stopped early for efficacy</a:t>
            </a:r>
          </a:p>
          <a:p>
            <a:pPr marL="294005" lvl="1" indent="-285750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en-US">
                <a:solidFill>
                  <a:schemeClr val="tx2"/>
                </a:solidFill>
                <a:latin typeface="Aptos"/>
              </a:rPr>
              <a:t>Fast Track designation (March 2025)</a:t>
            </a:r>
          </a:p>
          <a:p>
            <a:pPr marL="294005" lvl="1" indent="-285750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en-US">
                <a:solidFill>
                  <a:schemeClr val="tx2"/>
                </a:solidFill>
                <a:latin typeface="Aptos"/>
              </a:rPr>
              <a:t>FDA/DoD Medical Product Priority designation (Oct2025)</a:t>
            </a:r>
          </a:p>
          <a:p>
            <a:pPr marL="294005" lvl="1" indent="-285750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en-US">
                <a:solidFill>
                  <a:schemeClr val="tx2"/>
                </a:solidFill>
                <a:latin typeface="Aptos"/>
              </a:rPr>
              <a:t>Stored at ≤-65°C</a:t>
            </a:r>
          </a:p>
          <a:p>
            <a:pPr marL="294005" lvl="1" indent="-285750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en-US">
                <a:solidFill>
                  <a:schemeClr val="tx2"/>
                </a:solidFill>
                <a:latin typeface="Aptos"/>
              </a:rPr>
              <a:t>Universal donor</a:t>
            </a:r>
          </a:p>
          <a:p>
            <a:pPr marL="294005" lvl="1" indent="-285750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en-US">
                <a:solidFill>
                  <a:schemeClr val="tx2"/>
                </a:solidFill>
                <a:latin typeface="Aptos"/>
              </a:rPr>
              <a:t>15 minutes from freezer to treatment</a:t>
            </a:r>
          </a:p>
        </p:txBody>
      </p:sp>
      <p:sp>
        <p:nvSpPr>
          <p:cNvPr id="12" name="Round Diagonal Corner Rectangle 14">
            <a:extLst>
              <a:ext uri="{FF2B5EF4-FFF2-40B4-BE49-F238E27FC236}">
                <a16:creationId xmlns:a16="http://schemas.microsoft.com/office/drawing/2014/main" id="{65FA7305-20F7-162C-C05C-1B918B2D34DD}"/>
              </a:ext>
            </a:extLst>
          </p:cNvPr>
          <p:cNvSpPr/>
          <p:nvPr/>
        </p:nvSpPr>
        <p:spPr>
          <a:xfrm>
            <a:off x="812096" y="1421861"/>
            <a:ext cx="5160337" cy="490429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bg1"/>
                </a:solidFill>
                <a:latin typeface="Aptos" panose="020B0004020202020204" pitchFamily="34" charset="0"/>
              </a:rPr>
              <a:t>CLPH-511 Key Product Attributes</a:t>
            </a:r>
            <a:endParaRPr lang="en-US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CD8A5E53-B9BD-9F63-6BB1-85E966FCCB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>
                <a:latin typeface="Arial"/>
                <a:cs typeface="Arial"/>
              </a:rPr>
              <a:t>CLPH-511: Frozen Activated Apheresis Platelets </a:t>
            </a:r>
          </a:p>
        </p:txBody>
      </p:sp>
      <p:pic>
        <p:nvPicPr>
          <p:cNvPr id="2" name="object 6">
            <a:extLst>
              <a:ext uri="{FF2B5EF4-FFF2-40B4-BE49-F238E27FC236}">
                <a16:creationId xmlns:a16="http://schemas.microsoft.com/office/drawing/2014/main" id="{40A9CCF5-F926-80A1-F7D4-106E881C0CA6}"/>
              </a:ext>
            </a:extLst>
          </p:cNvPr>
          <p:cNvPicPr/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44143" y="1731905"/>
            <a:ext cx="2933481" cy="2975688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E415FB22-3691-66DF-7E48-6F979471DB76}"/>
              </a:ext>
            </a:extLst>
          </p:cNvPr>
          <p:cNvSpPr txBox="1">
            <a:spLocks/>
          </p:cNvSpPr>
          <p:nvPr/>
        </p:nvSpPr>
        <p:spPr>
          <a:xfrm>
            <a:off x="722285" y="6368488"/>
            <a:ext cx="7843402" cy="357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2400"/>
              </a:spcBef>
              <a:spcAft>
                <a:spcPts val="8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4361" indent="-224361" algn="l" defTabSz="914377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59306" indent="-234945" algn="l" defTabSz="914377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81550" indent="-222245" algn="l" defTabSz="914377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16494" indent="-234945" algn="l" defTabSz="914377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5888" indent="-115888">
              <a:spcBef>
                <a:spcPts val="0"/>
              </a:spcBef>
              <a:spcAft>
                <a:spcPts val="0"/>
              </a:spcAft>
            </a:pPr>
            <a:r>
              <a:rPr lang="en-US" sz="800" b="0">
                <a:solidFill>
                  <a:schemeClr val="tx2"/>
                </a:solidFill>
              </a:rPr>
              <a:t>Source: CRYPTICS Investigator brochure and CLPH-511 Target Product Profile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358B998-1756-693E-B4E8-6AC83C3BFC66}"/>
              </a:ext>
            </a:extLst>
          </p:cNvPr>
          <p:cNvSpPr txBox="1"/>
          <p:nvPr/>
        </p:nvSpPr>
        <p:spPr>
          <a:xfrm>
            <a:off x="7184492" y="4705045"/>
            <a:ext cx="365353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A platelet substitute, where platelets are in short supply or unavailab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CC0AA00-DCE9-BE4F-AEB2-7ECA1C8D2F13}"/>
              </a:ext>
            </a:extLst>
          </p:cNvPr>
          <p:cNvSpPr txBox="1"/>
          <p:nvPr/>
        </p:nvSpPr>
        <p:spPr>
          <a:xfrm>
            <a:off x="7681782" y="6517979"/>
            <a:ext cx="3271795" cy="307777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en-US" sz="800">
                <a:solidFill>
                  <a:schemeClr val="tx2"/>
                </a:solidFill>
              </a:rPr>
              <a:t>© 2025 </a:t>
            </a:r>
            <a:r>
              <a:rPr lang="en-US" sz="800" err="1">
                <a:solidFill>
                  <a:schemeClr val="tx2"/>
                </a:solidFill>
              </a:rPr>
              <a:t>Cellphire</a:t>
            </a:r>
            <a:r>
              <a:rPr lang="en-US" sz="800">
                <a:solidFill>
                  <a:schemeClr val="tx2"/>
                </a:solidFill>
              </a:rPr>
              <a:t> Therapeutics, Inc. | Confidential </a:t>
            </a:r>
            <a:endParaRPr lang="en-US">
              <a:solidFill>
                <a:schemeClr val="tx2"/>
              </a:solidFill>
            </a:endParaRPr>
          </a:p>
          <a:p>
            <a:pPr algn="r"/>
            <a:endParaRPr lang="en-US" sz="12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CBF3BA-B6A2-A5CE-D43A-54D3F41285F4}"/>
              </a:ext>
            </a:extLst>
          </p:cNvPr>
          <p:cNvSpPr txBox="1"/>
          <p:nvPr/>
        </p:nvSpPr>
        <p:spPr>
          <a:xfrm>
            <a:off x="453081" y="5467865"/>
            <a:ext cx="11162270" cy="127100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 b="1" baseline="0">
                <a:solidFill>
                  <a:schemeClr val="tx2"/>
                </a:solidFill>
                <a:latin typeface="Aptos"/>
                <a:ea typeface="Segoe UI"/>
                <a:cs typeface="Segoe UI"/>
              </a:rPr>
              <a:t>CLPH-511 manufactured from a pool of FDA-licensed, Group O, leukocyte reduced, irradiated </a:t>
            </a:r>
            <a:r>
              <a:rPr lang="en-US" sz="1600" b="1">
                <a:solidFill>
                  <a:schemeClr val="tx2"/>
                </a:solidFill>
                <a:latin typeface="Aptos"/>
                <a:ea typeface="Segoe UI"/>
                <a:cs typeface="Segoe UI"/>
              </a:rPr>
              <a:t>apheresis platelet</a:t>
            </a:r>
            <a:r>
              <a:rPr lang="en-US" sz="1600" b="1" baseline="0">
                <a:solidFill>
                  <a:schemeClr val="tx2"/>
                </a:solidFill>
                <a:latin typeface="Aptos"/>
                <a:ea typeface="Segoe UI"/>
                <a:cs typeface="Segoe UI"/>
              </a:rPr>
              <a:t> </a:t>
            </a:r>
            <a:r>
              <a:rPr lang="en-US" sz="1600" b="1">
                <a:solidFill>
                  <a:schemeClr val="tx2"/>
                </a:solidFill>
                <a:latin typeface="Aptos"/>
                <a:cs typeface="Segoe UI"/>
              </a:rPr>
              <a:t>units (≤10 unique donors)</a:t>
            </a:r>
            <a:r>
              <a:rPr sz="1600" b="1">
                <a:solidFill>
                  <a:schemeClr val="tx2"/>
                </a:solidFill>
                <a:latin typeface="Aptos"/>
                <a:cs typeface="Segoe UI"/>
              </a:rPr>
              <a:t>​</a:t>
            </a:r>
            <a:endParaRPr lang="en-US" sz="1600" b="1">
              <a:solidFill>
                <a:schemeClr val="tx2"/>
              </a:solidFill>
              <a:latin typeface="Aptos"/>
              <a:cs typeface="Segoe UI"/>
            </a:endParaRPr>
          </a:p>
          <a:p>
            <a:pPr marL="285750" lvl="2" indent="-285750">
              <a:lnSpc>
                <a:spcPct val="90000"/>
              </a:lnSpc>
              <a:spcBef>
                <a:spcPts val="500"/>
              </a:spcBef>
              <a:spcAft>
                <a:spcPts val="400"/>
              </a:spcAft>
              <a:buFont typeface="Arial"/>
              <a:buChar char="•"/>
            </a:pPr>
            <a:r>
              <a:rPr lang="en-US" sz="1600" b="1">
                <a:solidFill>
                  <a:schemeClr val="tx2"/>
                </a:solidFill>
                <a:latin typeface="Aptos"/>
                <a:cs typeface="Segoe UI"/>
              </a:rPr>
              <a:t>Goal: Indicated for treatment of acute hemorrhage in adults and pediatrics</a:t>
            </a:r>
          </a:p>
          <a:p>
            <a:pPr algn="l"/>
            <a:endParaRPr lang="en-US" sz="1600" b="1">
              <a:solidFill>
                <a:schemeClr val="tx2"/>
              </a:solidFill>
              <a:cs typeface="Segoe UI"/>
            </a:endParaRPr>
          </a:p>
          <a:p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678656568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1C24C1-DC90-45C1-9D2A-86A5CDE6B4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882CBEC-1875-74FB-76F7-AB0D3DE8E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527" y="384856"/>
            <a:ext cx="3137114" cy="1302528"/>
          </a:xfrm>
        </p:spPr>
        <p:txBody>
          <a:bodyPr>
            <a:normAutofit/>
          </a:bodyPr>
          <a:lstStyle/>
          <a:p>
            <a:r>
              <a:rPr lang="en-US" sz="2400" b="1">
                <a:solidFill>
                  <a:srgbClr val="7030A0"/>
                </a:solidFill>
                <a:latin typeface="Arial"/>
                <a:cs typeface="Arial"/>
              </a:rPr>
              <a:t>Mechanism of Action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5B758D24-7131-A34E-39E7-45DCB0F1D3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4887" y="6433441"/>
            <a:ext cx="330549" cy="184665"/>
          </a:xfrm>
        </p:spPr>
        <p:txBody>
          <a:bodyPr/>
          <a:lstStyle/>
          <a:p>
            <a:pPr defTabSz="609585">
              <a:spcAft>
                <a:spcPts val="800"/>
              </a:spcAft>
              <a:defRPr/>
            </a:pPr>
            <a:fld id="{F82AA240-EF9F-46CE-9076-02F2D9E7E27F}" type="slidenum">
              <a:rPr lang="en-US" b="1">
                <a:solidFill>
                  <a:srgbClr val="06AEC7"/>
                </a:solidFill>
                <a:latin typeface="Aptos" panose="020B0004020202020204" pitchFamily="34" charset="0"/>
              </a:rPr>
              <a:pPr defTabSz="609585">
                <a:spcAft>
                  <a:spcPts val="800"/>
                </a:spcAft>
                <a:defRPr/>
              </a:pPr>
              <a:t>4</a:t>
            </a:fld>
            <a:endParaRPr lang="en-US" b="1">
              <a:solidFill>
                <a:srgbClr val="06AEC7"/>
              </a:solidFill>
              <a:latin typeface="Aptos" panose="020B0004020202020204" pitchFamily="34" charset="0"/>
            </a:endParaRPr>
          </a:p>
        </p:txBody>
      </p:sp>
      <p:pic>
        <p:nvPicPr>
          <p:cNvPr id="8" name="Picture 7" descr="Diagram of a diagram showing the structure of a human body&#10;&#10;AI-generated content may be incorrect.">
            <a:extLst>
              <a:ext uri="{FF2B5EF4-FFF2-40B4-BE49-F238E27FC236}">
                <a16:creationId xmlns:a16="http://schemas.microsoft.com/office/drawing/2014/main" id="{7D4FEB81-0212-6876-3C4A-628AC162860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488" y="0"/>
            <a:ext cx="8381512" cy="6207760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E4FDF68-7548-E2E0-B367-A0DA889A0AA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30960" y="1798320"/>
            <a:ext cx="3648560" cy="4411859"/>
          </a:xfrm>
        </p:spPr>
        <p:txBody>
          <a:bodyPr vert="horz" lIns="0" tIns="0" rIns="0" bIns="0" rtlCol="0" anchor="t">
            <a:noAutofit/>
          </a:bodyPr>
          <a:lstStyle/>
          <a:p>
            <a:pPr marL="380365" indent="-380365">
              <a:spcBef>
                <a:spcPts val="800"/>
              </a:spcBef>
              <a:buClr>
                <a:schemeClr val="bg2"/>
              </a:buClr>
            </a:pPr>
            <a:r>
              <a:rPr lang="en-US" sz="2000">
                <a:solidFill>
                  <a:schemeClr val="tx2"/>
                </a:solidFill>
                <a:latin typeface="Aptos"/>
              </a:rPr>
              <a:t>The CLPH-511 activity is derived from the known hemostatic activity for platelets.</a:t>
            </a:r>
          </a:p>
          <a:p>
            <a:pPr marL="380365" indent="-380365">
              <a:spcBef>
                <a:spcPts val="800"/>
              </a:spcBef>
              <a:buClr>
                <a:schemeClr val="bg2"/>
              </a:buClr>
            </a:pPr>
            <a:r>
              <a:rPr lang="en-US" sz="2000">
                <a:solidFill>
                  <a:schemeClr val="tx2"/>
                </a:solidFill>
                <a:latin typeface="Aptos"/>
              </a:rPr>
              <a:t>Adhesion receptors for aggregation, thrombin generation and promotion of secondary hemostasis have been characterized for CLPH-511 in vitro</a:t>
            </a:r>
          </a:p>
        </p:txBody>
      </p:sp>
    </p:spTree>
    <p:extLst>
      <p:ext uri="{BB962C8B-B14F-4D97-AF65-F5344CB8AC3E}">
        <p14:creationId xmlns:p14="http://schemas.microsoft.com/office/powerpoint/2010/main" val="4067580660"/>
      </p:ext>
    </p:extLst>
  </p:cSld>
  <p:clrMapOvr>
    <a:masterClrMapping/>
  </p:clrMapOvr>
  <p:transition spd="slow">
    <p:wipe/>
  </p:transition>
  <p:extLst>
    <p:ext uri="{6950BFC3-D8DA-4A85-94F7-54DA5524770B}">
      <p188:commentRel xmlns:p188="http://schemas.microsoft.com/office/powerpoint/2018/8/main" r:id="rId3"/>
    </p:ext>
  </p:extLs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A09209-6863-AA68-EBA6-BE92E088CD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71CFE0F-949D-D48E-A6C1-2D722B9888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889" y="374864"/>
            <a:ext cx="10838577" cy="369332"/>
          </a:xfrm>
        </p:spPr>
        <p:txBody>
          <a:bodyPr>
            <a:normAutofit fontScale="90000"/>
          </a:bodyPr>
          <a:lstStyle/>
          <a:p>
            <a:r>
              <a:rPr lang="en-US" sz="2400" b="1">
                <a:solidFill>
                  <a:schemeClr val="bg2"/>
                </a:solidFill>
                <a:latin typeface="Arial"/>
                <a:cs typeface="Arial"/>
              </a:rPr>
              <a:t>Pivotal Trial – CRYPTICS Phase 2/3 Trial</a:t>
            </a:r>
            <a:br>
              <a:rPr lang="en-US" sz="2400" b="1">
                <a:solidFill>
                  <a:schemeClr val="bg2"/>
                </a:solidFill>
                <a:latin typeface="Arial"/>
                <a:cs typeface="Arial"/>
              </a:rPr>
            </a:br>
            <a:endParaRPr lang="en-US" sz="2400" b="1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0875D689-D3F1-0FB8-7676-AAEACDD485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585">
              <a:spcAft>
                <a:spcPts val="800"/>
              </a:spcAft>
              <a:defRPr/>
            </a:pPr>
            <a:fld id="{F82AA240-EF9F-46CE-9076-02F2D9E7E27F}" type="slidenum">
              <a:rPr lang="en-US" b="1">
                <a:solidFill>
                  <a:srgbClr val="06AEC7"/>
                </a:solidFill>
                <a:latin typeface="Aptos" panose="020B0004020202020204" pitchFamily="34" charset="0"/>
              </a:rPr>
              <a:pPr defTabSz="609585">
                <a:spcAft>
                  <a:spcPts val="800"/>
                </a:spcAft>
                <a:defRPr/>
              </a:pPr>
              <a:t>5</a:t>
            </a:fld>
            <a:endParaRPr lang="en-US" b="1">
              <a:solidFill>
                <a:srgbClr val="06AEC7"/>
              </a:solidFill>
              <a:latin typeface="Aptos" panose="020B00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6C70CC1-BDB3-43A4-1405-1B89464CA188}"/>
              </a:ext>
            </a:extLst>
          </p:cNvPr>
          <p:cNvSpPr txBox="1"/>
          <p:nvPr/>
        </p:nvSpPr>
        <p:spPr>
          <a:xfrm>
            <a:off x="1163067" y="1718483"/>
            <a:ext cx="10349137" cy="432169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227965" indent="-227965">
              <a:lnSpc>
                <a:spcPts val="1867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tx2"/>
                </a:solidFill>
              </a:rPr>
              <a:t>Design: </a:t>
            </a:r>
            <a:r>
              <a:rPr lang="en-US" sz="1600">
                <a:solidFill>
                  <a:schemeClr val="tx2"/>
                </a:solidFill>
              </a:rPr>
              <a:t>Randomized, parallel-group, double-blind active comparator-controlled clinical trial</a:t>
            </a:r>
            <a:endParaRPr lang="en-US">
              <a:cs typeface="Arial"/>
            </a:endParaRPr>
          </a:p>
          <a:p>
            <a:pPr marL="227965" indent="-227965">
              <a:lnSpc>
                <a:spcPts val="1867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tx2"/>
                </a:solidFill>
              </a:rPr>
              <a:t>Study Conduct: </a:t>
            </a:r>
            <a:r>
              <a:rPr lang="en-US" sz="1600">
                <a:solidFill>
                  <a:schemeClr val="tx2"/>
                </a:solidFill>
              </a:rPr>
              <a:t>March 14, 2022 – </a:t>
            </a:r>
            <a:r>
              <a:rPr lang="en-US" sz="1600" b="1">
                <a:solidFill>
                  <a:schemeClr val="tx2"/>
                </a:solidFill>
              </a:rPr>
              <a:t>May 8, 2025 (study complete)</a:t>
            </a:r>
            <a:endParaRPr lang="en-US" sz="1600" b="1">
              <a:solidFill>
                <a:schemeClr val="tx2"/>
              </a:solidFill>
              <a:cs typeface="Arial"/>
            </a:endParaRPr>
          </a:p>
          <a:p>
            <a:pPr marL="837565" lvl="1" indent="-227965">
              <a:lnSpc>
                <a:spcPts val="1867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tx2"/>
                </a:solidFill>
              </a:rPr>
              <a:t>Study completed early due to meeting primary endpoint at interim analysis</a:t>
            </a:r>
            <a:endParaRPr lang="en-US" sz="1600" b="1">
              <a:solidFill>
                <a:schemeClr val="tx2"/>
              </a:solidFill>
              <a:cs typeface="Arial"/>
            </a:endParaRPr>
          </a:p>
          <a:p>
            <a:pPr marL="227965" indent="-227965">
              <a:lnSpc>
                <a:spcPts val="1867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tx2"/>
                </a:solidFill>
              </a:rPr>
              <a:t>Sites: </a:t>
            </a:r>
            <a:r>
              <a:rPr lang="en-US" sz="1600">
                <a:solidFill>
                  <a:schemeClr val="tx2"/>
                </a:solidFill>
              </a:rPr>
              <a:t>18 active sites in the United States</a:t>
            </a:r>
            <a:endParaRPr lang="en-US" sz="1600">
              <a:solidFill>
                <a:schemeClr val="tx2"/>
              </a:solidFill>
              <a:cs typeface="Arial"/>
            </a:endParaRPr>
          </a:p>
          <a:p>
            <a:pPr marL="227965" indent="-227965">
              <a:lnSpc>
                <a:spcPts val="1867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tx2"/>
                </a:solidFill>
              </a:rPr>
              <a:t>Enrollment Target: </a:t>
            </a:r>
            <a:r>
              <a:rPr lang="en-US" sz="1600">
                <a:solidFill>
                  <a:schemeClr val="tx2"/>
                </a:solidFill>
              </a:rPr>
              <a:t>Up to 200 subjects (randomized 1:1, CLPH-511 or RTP)</a:t>
            </a:r>
            <a:endParaRPr lang="en-US" sz="1600">
              <a:solidFill>
                <a:schemeClr val="tx2"/>
              </a:solidFill>
              <a:cs typeface="Arial"/>
            </a:endParaRPr>
          </a:p>
          <a:p>
            <a:pPr marL="227965" indent="-227965">
              <a:lnSpc>
                <a:spcPts val="1867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tx2"/>
                </a:solidFill>
              </a:rPr>
              <a:t>Study Population</a:t>
            </a:r>
            <a:r>
              <a:rPr lang="en-US" sz="1600">
                <a:solidFill>
                  <a:schemeClr val="tx2"/>
                </a:solidFill>
              </a:rPr>
              <a:t>: Adult subjects undergoing cardiac surgery with cardiopulmonary bypass with risk of post-surgical bleeding</a:t>
            </a:r>
            <a:endParaRPr lang="en-US" sz="1600">
              <a:solidFill>
                <a:schemeClr val="tx2"/>
              </a:solidFill>
              <a:cs typeface="Arial"/>
            </a:endParaRPr>
          </a:p>
          <a:p>
            <a:pPr marL="227965" indent="-227965">
              <a:lnSpc>
                <a:spcPts val="1867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tx2"/>
                </a:solidFill>
              </a:rPr>
              <a:t>Dose: </a:t>
            </a:r>
            <a:r>
              <a:rPr lang="en-US" sz="1600">
                <a:solidFill>
                  <a:schemeClr val="tx2"/>
                </a:solidFill>
              </a:rPr>
              <a:t>1 unit, CLPH-511 (≥1.7 × 10</a:t>
            </a:r>
            <a:r>
              <a:rPr lang="en-US" sz="1600" baseline="30000">
                <a:solidFill>
                  <a:schemeClr val="tx2"/>
                </a:solidFill>
              </a:rPr>
              <a:t>11</a:t>
            </a:r>
            <a:r>
              <a:rPr lang="en-US" sz="1600">
                <a:solidFill>
                  <a:schemeClr val="tx2"/>
                </a:solidFill>
              </a:rPr>
              <a:t> platelets/unit) or RTP (≥3.0 × 10</a:t>
            </a:r>
            <a:r>
              <a:rPr lang="en-US" sz="1600" baseline="30000">
                <a:solidFill>
                  <a:schemeClr val="tx2"/>
                </a:solidFill>
              </a:rPr>
              <a:t>11</a:t>
            </a:r>
            <a:r>
              <a:rPr lang="en-US" sz="1600">
                <a:solidFill>
                  <a:schemeClr val="tx2"/>
                </a:solidFill>
              </a:rPr>
              <a:t> platelets/unit); up to 3 units in 24 hours</a:t>
            </a:r>
            <a:endParaRPr lang="en-US" sz="1600">
              <a:solidFill>
                <a:schemeClr val="tx2"/>
              </a:solidFill>
              <a:cs typeface="Arial"/>
            </a:endParaRPr>
          </a:p>
          <a:p>
            <a:pPr marL="227965" indent="-227965">
              <a:lnSpc>
                <a:spcPts val="1867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tx2"/>
                </a:solidFill>
              </a:rPr>
              <a:t>Transfusion Criteria: </a:t>
            </a:r>
            <a:r>
              <a:rPr lang="en-US" sz="1600">
                <a:solidFill>
                  <a:schemeClr val="tx2"/>
                </a:solidFill>
              </a:rPr>
              <a:t>Intraoperatively or post-operatively according a defined transfusion algorithm based on a combination of lab values, bleeding rate, and clinician’s judgement</a:t>
            </a:r>
            <a:endParaRPr lang="en-US" sz="1600">
              <a:solidFill>
                <a:schemeClr val="tx2"/>
              </a:solidFill>
              <a:cs typeface="Arial"/>
            </a:endParaRPr>
          </a:p>
          <a:p>
            <a:pPr marL="227965" indent="-227965">
              <a:lnSpc>
                <a:spcPts val="1867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tx2"/>
                </a:solidFill>
              </a:rPr>
              <a:t>Follow-up period: </a:t>
            </a:r>
            <a:r>
              <a:rPr lang="en-US" sz="1600">
                <a:solidFill>
                  <a:schemeClr val="tx2"/>
                </a:solidFill>
              </a:rPr>
              <a:t>30-days post-first study drug administration</a:t>
            </a:r>
            <a:endParaRPr lang="en-US" sz="1600">
              <a:solidFill>
                <a:schemeClr val="tx2"/>
              </a:solidFill>
              <a:cs typeface="Arial"/>
            </a:endParaRPr>
          </a:p>
        </p:txBody>
      </p:sp>
      <p:sp>
        <p:nvSpPr>
          <p:cNvPr id="14" name="Title 5">
            <a:extLst>
              <a:ext uri="{FF2B5EF4-FFF2-40B4-BE49-F238E27FC236}">
                <a16:creationId xmlns:a16="http://schemas.microsoft.com/office/drawing/2014/main" id="{66750C22-6A93-F7C1-E1ED-3CEAEFE62263}"/>
              </a:ext>
            </a:extLst>
          </p:cNvPr>
          <p:cNvSpPr txBox="1">
            <a:spLocks/>
          </p:cNvSpPr>
          <p:nvPr/>
        </p:nvSpPr>
        <p:spPr>
          <a:xfrm>
            <a:off x="659514" y="1304242"/>
            <a:ext cx="5549072" cy="56501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bg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r>
              <a:rPr lang="en-US" sz="2400">
                <a:solidFill>
                  <a:srgbClr val="7030A0"/>
                </a:solidFill>
                <a:latin typeface="Aptos"/>
              </a:rPr>
              <a:t>Study Design Overview</a:t>
            </a:r>
            <a:endParaRPr lang="en-US" sz="2400" b="0">
              <a:solidFill>
                <a:srgbClr val="7030A0"/>
              </a:solidFill>
              <a:latin typeface="Apto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AB9C6F9-E3F0-2214-AF32-BFED614B856C}"/>
              </a:ext>
            </a:extLst>
          </p:cNvPr>
          <p:cNvSpPr txBox="1"/>
          <p:nvPr/>
        </p:nvSpPr>
        <p:spPr>
          <a:xfrm>
            <a:off x="647500" y="415424"/>
            <a:ext cx="11380195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600" b="1">
                <a:solidFill>
                  <a:srgbClr val="000000"/>
                </a:solidFill>
              </a:rPr>
              <a:t>Randomized Controlled Trial Comparing Dimethyl Sulfoxide Cryopreserved Platelets to Liquid Stored Platelets in Patients Undergoing Cardiopulmonary Bypass Surgery (CRYPTICS)</a:t>
            </a:r>
          </a:p>
        </p:txBody>
      </p:sp>
    </p:spTree>
    <p:extLst>
      <p:ext uri="{BB962C8B-B14F-4D97-AF65-F5344CB8AC3E}">
        <p14:creationId xmlns:p14="http://schemas.microsoft.com/office/powerpoint/2010/main" val="2054741438"/>
      </p:ext>
    </p:extLst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CECB1F-C988-7243-2EE0-7AE66DF924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7612" y="2184962"/>
            <a:ext cx="5246223" cy="3858127"/>
          </a:xfrm>
        </p:spPr>
        <p:txBody>
          <a:bodyPr vert="horz" lIns="0" tIns="0" rIns="0" bIns="0" rtlCol="0" anchor="t">
            <a:noAutofit/>
          </a:bodyPr>
          <a:lstStyle/>
          <a:p>
            <a:pPr marL="380365" indent="-380365">
              <a:spcBef>
                <a:spcPts val="800"/>
              </a:spcBef>
              <a:buFont typeface="Arial,Sans-Serif"/>
              <a:buChar char="•"/>
            </a:pPr>
            <a:r>
              <a:rPr lang="en-US" sz="1800">
                <a:solidFill>
                  <a:srgbClr val="7030A0"/>
                </a:solidFill>
                <a:latin typeface="Arial"/>
                <a:cs typeface="Arial"/>
              </a:rPr>
              <a:t>Populations well matched</a:t>
            </a:r>
            <a:endParaRPr lang="en-US" sz="1800" b="0">
              <a:solidFill>
                <a:srgbClr val="545859"/>
              </a:solidFill>
              <a:latin typeface="Arial"/>
              <a:cs typeface="Arial"/>
            </a:endParaRPr>
          </a:p>
          <a:p>
            <a:pPr marL="380365" indent="-380365">
              <a:spcBef>
                <a:spcPts val="800"/>
              </a:spcBef>
              <a:buFont typeface="Arial,Sans-Serif"/>
              <a:buChar char="•"/>
            </a:pPr>
            <a:r>
              <a:rPr lang="en-US" sz="1800">
                <a:solidFill>
                  <a:srgbClr val="7030A0"/>
                </a:solidFill>
                <a:latin typeface="Arial"/>
                <a:cs typeface="Arial"/>
              </a:rPr>
              <a:t>Sensitivity analyses of primary endpoint appear consistent and supportive</a:t>
            </a:r>
            <a:endParaRPr lang="en-US" sz="1800" b="0">
              <a:solidFill>
                <a:srgbClr val="545859"/>
              </a:solidFill>
              <a:latin typeface="Arial"/>
              <a:cs typeface="Arial"/>
            </a:endParaRPr>
          </a:p>
          <a:p>
            <a:pPr marL="380365" indent="-380365">
              <a:spcBef>
                <a:spcPts val="800"/>
              </a:spcBef>
              <a:buFont typeface="Arial,Sans-Serif"/>
              <a:buChar char="•"/>
            </a:pPr>
            <a:r>
              <a:rPr lang="en-US" sz="1800">
                <a:solidFill>
                  <a:srgbClr val="7030A0"/>
                </a:solidFill>
                <a:latin typeface="Arial"/>
                <a:cs typeface="Arial"/>
              </a:rPr>
              <a:t>Number of study doses used were equivalent</a:t>
            </a:r>
            <a:endParaRPr lang="en-US" sz="1800" b="0">
              <a:solidFill>
                <a:srgbClr val="545859"/>
              </a:solidFill>
              <a:latin typeface="Arial"/>
              <a:cs typeface="Arial"/>
            </a:endParaRPr>
          </a:p>
          <a:p>
            <a:pPr marL="380365" indent="-380365">
              <a:spcBef>
                <a:spcPts val="800"/>
              </a:spcBef>
              <a:buFont typeface="Arial,Sans-Serif"/>
              <a:buChar char="•"/>
            </a:pPr>
            <a:r>
              <a:rPr lang="en-US" sz="1800">
                <a:solidFill>
                  <a:srgbClr val="7030A0"/>
                </a:solidFill>
                <a:latin typeface="Arial"/>
                <a:cs typeface="Arial"/>
              </a:rPr>
              <a:t>Similar proportion of </a:t>
            </a:r>
            <a:r>
              <a:rPr lang="en-US" sz="1800" err="1">
                <a:solidFill>
                  <a:srgbClr val="7030A0"/>
                </a:solidFill>
                <a:latin typeface="Arial"/>
                <a:cs typeface="Arial"/>
              </a:rPr>
              <a:t>pRBCs</a:t>
            </a:r>
            <a:r>
              <a:rPr lang="en-US" sz="1800">
                <a:solidFill>
                  <a:srgbClr val="7030A0"/>
                </a:solidFill>
                <a:latin typeface="Arial"/>
                <a:cs typeface="Arial"/>
              </a:rPr>
              <a:t> used</a:t>
            </a:r>
            <a:endParaRPr lang="en-US" sz="1800" b="0">
              <a:solidFill>
                <a:srgbClr val="545859"/>
              </a:solidFill>
              <a:latin typeface="Arial"/>
              <a:cs typeface="Arial"/>
            </a:endParaRPr>
          </a:p>
          <a:p>
            <a:pPr marL="380365" indent="-380365">
              <a:spcBef>
                <a:spcPts val="800"/>
              </a:spcBef>
              <a:buFont typeface="Arial,Sans-Serif"/>
              <a:buChar char="•"/>
            </a:pPr>
            <a:r>
              <a:rPr lang="en-US" sz="1800">
                <a:solidFill>
                  <a:srgbClr val="7030A0"/>
                </a:solidFill>
                <a:latin typeface="Arial"/>
                <a:cs typeface="Arial"/>
              </a:rPr>
              <a:t>No statistically significant differences in:</a:t>
            </a:r>
            <a:endParaRPr lang="en-US" sz="1800" b="0">
              <a:solidFill>
                <a:srgbClr val="545859"/>
              </a:solidFill>
              <a:latin typeface="Arial"/>
              <a:cs typeface="Arial"/>
            </a:endParaRPr>
          </a:p>
          <a:p>
            <a:pPr marL="605155" lvl="1" indent="-380365">
              <a:spcBef>
                <a:spcPts val="800"/>
              </a:spcBef>
              <a:buClr>
                <a:srgbClr val="50037F"/>
              </a:buClr>
              <a:buFont typeface="Arial,Sans-Serif"/>
              <a:buChar char="•"/>
            </a:pPr>
            <a:r>
              <a:rPr lang="en-US" sz="1800">
                <a:solidFill>
                  <a:srgbClr val="7030A0"/>
                </a:solidFill>
                <a:latin typeface="Arial"/>
                <a:cs typeface="Arial"/>
              </a:rPr>
              <a:t>Treatment failure</a:t>
            </a:r>
            <a:endParaRPr lang="en-US" sz="1800">
              <a:solidFill>
                <a:srgbClr val="545859"/>
              </a:solidFill>
              <a:latin typeface="Arial"/>
              <a:cs typeface="Arial"/>
            </a:endParaRPr>
          </a:p>
          <a:p>
            <a:pPr marL="605155" lvl="1" indent="-380365">
              <a:spcBef>
                <a:spcPts val="800"/>
              </a:spcBef>
              <a:buClr>
                <a:srgbClr val="50037F"/>
              </a:buClr>
              <a:buFont typeface="Arial,Sans-Serif"/>
              <a:buChar char="•"/>
            </a:pPr>
            <a:r>
              <a:rPr lang="en-US" sz="1800">
                <a:solidFill>
                  <a:srgbClr val="7030A0"/>
                </a:solidFill>
                <a:latin typeface="Arial"/>
                <a:cs typeface="Arial"/>
              </a:rPr>
              <a:t>Re-exploration rates</a:t>
            </a:r>
            <a:endParaRPr lang="en-US" sz="1800">
              <a:solidFill>
                <a:srgbClr val="545859"/>
              </a:solidFill>
              <a:latin typeface="Arial"/>
              <a:cs typeface="Arial"/>
            </a:endParaRPr>
          </a:p>
          <a:p>
            <a:pPr marL="605155" lvl="1" indent="-380365">
              <a:spcBef>
                <a:spcPts val="800"/>
              </a:spcBef>
              <a:buClr>
                <a:srgbClr val="50037F"/>
              </a:buClr>
              <a:buFont typeface="Arial,Sans-Serif"/>
              <a:buChar char="•"/>
            </a:pPr>
            <a:r>
              <a:rPr lang="en-US" sz="1800">
                <a:solidFill>
                  <a:srgbClr val="7030A0"/>
                </a:solidFill>
                <a:latin typeface="Arial"/>
                <a:cs typeface="Arial"/>
              </a:rPr>
              <a:t>Time to hemostasis</a:t>
            </a:r>
            <a:endParaRPr lang="en-US" sz="2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184478-9469-FAB8-F3FD-0106FFD3B3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AA240-EF9F-46CE-9076-02F2D9E7E27F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C906740-61C8-C032-4AA8-A191A99310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658D6AB-9C95-5D85-C771-BB86AED5AD32}"/>
              </a:ext>
            </a:extLst>
          </p:cNvPr>
          <p:cNvSpPr txBox="1">
            <a:spLocks/>
          </p:cNvSpPr>
          <p:nvPr/>
        </p:nvSpPr>
        <p:spPr>
          <a:xfrm>
            <a:off x="6531380" y="2176941"/>
            <a:ext cx="5246223" cy="38581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2400"/>
              </a:spcBef>
              <a:spcAft>
                <a:spcPts val="800"/>
              </a:spcAft>
              <a:buFont typeface="Arial" panose="020B0604020202020204" pitchFamily="34" charset="0"/>
              <a:buNone/>
              <a:defRPr sz="1600" b="1" kern="1200" cap="none" baseline="0">
                <a:solidFill>
                  <a:schemeClr val="tx2"/>
                </a:solidFill>
                <a:latin typeface="Aptos" panose="020B0004020202020204" pitchFamily="34" charset="0"/>
                <a:ea typeface="+mn-ea"/>
                <a:cs typeface="+mn-cs"/>
              </a:defRPr>
            </a:lvl1pPr>
            <a:lvl2pPr marL="224361" indent="-224361" algn="l" defTabSz="914377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67" kern="1200">
                <a:solidFill>
                  <a:schemeClr val="tx2"/>
                </a:solidFill>
                <a:latin typeface="Aptos" panose="020B0004020202020204" pitchFamily="34" charset="0"/>
                <a:ea typeface="+mn-ea"/>
                <a:cs typeface="+mn-cs"/>
              </a:defRPr>
            </a:lvl2pPr>
            <a:lvl3pPr marL="459306" indent="-234945" algn="l" defTabSz="914377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ptos" panose="020B0004020202020204" pitchFamily="34" charset="0"/>
                <a:ea typeface="+mn-ea"/>
                <a:cs typeface="+mn-cs"/>
              </a:defRPr>
            </a:lvl3pPr>
            <a:lvl4pPr marL="681550" indent="-222245" algn="l" defTabSz="914377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67" kern="1200">
                <a:solidFill>
                  <a:schemeClr val="tx2"/>
                </a:solidFill>
                <a:latin typeface="Aptos" panose="020B0004020202020204" pitchFamily="34" charset="0"/>
                <a:ea typeface="+mn-ea"/>
                <a:cs typeface="+mn-cs"/>
              </a:defRPr>
            </a:lvl4pPr>
            <a:lvl5pPr marL="916494" indent="-234945" algn="l" defTabSz="914377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333" kern="1200">
                <a:solidFill>
                  <a:schemeClr val="tx2"/>
                </a:solidFill>
                <a:latin typeface="Aptos" panose="020B0004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0365" indent="-380365">
              <a:spcBef>
                <a:spcPts val="800"/>
              </a:spcBef>
              <a:buFont typeface="Arial,Sans-Serif"/>
              <a:buChar char="•"/>
            </a:pPr>
            <a:r>
              <a:rPr lang="en-US" sz="1800">
                <a:solidFill>
                  <a:srgbClr val="7030A0"/>
                </a:solidFill>
                <a:latin typeface="Arial"/>
                <a:cs typeface="Arial"/>
              </a:rPr>
              <a:t>Adverse Events balanced between the 2 treatment groups</a:t>
            </a:r>
          </a:p>
          <a:p>
            <a:pPr marL="380365" indent="-380365">
              <a:spcBef>
                <a:spcPts val="800"/>
              </a:spcBef>
              <a:buFont typeface="Arial,Sans-Serif"/>
              <a:buChar char="•"/>
            </a:pPr>
            <a:r>
              <a:rPr lang="en-US" sz="1800">
                <a:solidFill>
                  <a:srgbClr val="7030A0"/>
                </a:solidFill>
                <a:latin typeface="Arial"/>
                <a:cs typeface="Arial"/>
              </a:rPr>
              <a:t>Thromboembolic complications appear fewer in CLPH-511</a:t>
            </a:r>
          </a:p>
          <a:p>
            <a:pPr marL="380365" indent="-380365">
              <a:spcBef>
                <a:spcPts val="800"/>
              </a:spcBef>
              <a:buFont typeface="Arial,Sans-Serif"/>
              <a:buChar char="•"/>
            </a:pPr>
            <a:r>
              <a:rPr lang="en-US" sz="1800">
                <a:solidFill>
                  <a:srgbClr val="7030A0"/>
                </a:solidFill>
                <a:latin typeface="Arial"/>
                <a:cs typeface="Arial"/>
              </a:rPr>
              <a:t>Acute kidney injury is similar in the 2 treatment groups</a:t>
            </a:r>
          </a:p>
          <a:p>
            <a:pPr marL="380365" indent="-380365">
              <a:spcBef>
                <a:spcPts val="800"/>
              </a:spcBef>
              <a:buFont typeface="Arial,Sans-Serif"/>
              <a:buChar char="•"/>
            </a:pPr>
            <a:r>
              <a:rPr lang="en-US" sz="1800">
                <a:solidFill>
                  <a:srgbClr val="7030A0"/>
                </a:solidFill>
                <a:latin typeface="Arial"/>
                <a:cs typeface="Arial"/>
              </a:rPr>
              <a:t>511 appears to have fewer cardiac and renal events leading to prolonged hospitalization</a:t>
            </a:r>
          </a:p>
          <a:p>
            <a:pPr marL="380365" indent="-380365">
              <a:spcBef>
                <a:spcPts val="800"/>
              </a:spcBef>
              <a:buFont typeface="Arial,Sans-Serif"/>
              <a:buChar char="•"/>
            </a:pPr>
            <a:r>
              <a:rPr lang="en-US" sz="1800">
                <a:solidFill>
                  <a:srgbClr val="7030A0"/>
                </a:solidFill>
                <a:latin typeface="Arial"/>
                <a:cs typeface="Arial"/>
              </a:rPr>
              <a:t>Similar proportion of death in the 2 treatment groups (4.4% vs 5.4%)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4BDB062-892F-5243-03CD-CBA41545D5B3}"/>
              </a:ext>
            </a:extLst>
          </p:cNvPr>
          <p:cNvSpPr txBox="1">
            <a:spLocks/>
          </p:cNvSpPr>
          <p:nvPr/>
        </p:nvSpPr>
        <p:spPr>
          <a:xfrm>
            <a:off x="563717" y="277136"/>
            <a:ext cx="11051459" cy="36933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l" defTabSz="60958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2"/>
                </a:solidFill>
                <a:latin typeface="+mj-lt"/>
                <a:ea typeface="+mj-ea"/>
                <a:cs typeface="+mj-cs"/>
              </a:rPr>
              <a:t>CRYPTICS Topline Summary of Efficacy and Safety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3F8D580D-B23A-8175-7EA5-E42244FD835D}"/>
              </a:ext>
            </a:extLst>
          </p:cNvPr>
          <p:cNvSpPr/>
          <p:nvPr/>
        </p:nvSpPr>
        <p:spPr>
          <a:xfrm>
            <a:off x="788737" y="1136315"/>
            <a:ext cx="5083342" cy="862263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baseline="0">
                <a:solidFill>
                  <a:srgbClr val="FFFFFF"/>
                </a:solidFill>
                <a:latin typeface="Arial"/>
                <a:ea typeface="Segoe UI"/>
                <a:cs typeface="Segoe UI"/>
              </a:rPr>
              <a:t>Efficacy data </a:t>
            </a:r>
            <a:r>
              <a:rPr lang="en-US">
                <a:solidFill>
                  <a:srgbClr val="FFFFFF"/>
                </a:solidFill>
                <a:latin typeface="Arial"/>
                <a:ea typeface="Segoe UI"/>
                <a:cs typeface="Segoe UI"/>
              </a:rPr>
              <a:t>​</a:t>
            </a:r>
            <a:endParaRPr lang="en-US" sz="2400">
              <a:solidFill>
                <a:srgbClr val="FFFFFF"/>
              </a:solidFill>
            </a:endParaRPr>
          </a:p>
          <a:p>
            <a:pPr algn="ctr" rtl="0"/>
            <a:r>
              <a:rPr lang="en-US" b="1" baseline="0">
                <a:solidFill>
                  <a:srgbClr val="FFFFFF"/>
                </a:solidFill>
                <a:latin typeface="Arial"/>
                <a:ea typeface="Segoe UI"/>
                <a:cs typeface="Segoe UI"/>
              </a:rPr>
              <a:t>Robust and supported by secondary endpoints</a:t>
            </a:r>
            <a:r>
              <a:rPr lang="en-US" baseline="0">
                <a:solidFill>
                  <a:srgbClr val="FFFFFF"/>
                </a:solidFill>
                <a:latin typeface="Arial"/>
                <a:ea typeface="Segoe UI"/>
                <a:cs typeface="Segoe UI"/>
              </a:rPr>
              <a:t>​</a:t>
            </a: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25374CCC-55F5-79A4-4FA8-AEE716DA57EA}"/>
              </a:ext>
            </a:extLst>
          </p:cNvPr>
          <p:cNvSpPr/>
          <p:nvPr/>
        </p:nvSpPr>
        <p:spPr>
          <a:xfrm>
            <a:off x="6537157" y="1136314"/>
            <a:ext cx="5083342" cy="862263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b="1">
                <a:solidFill>
                  <a:srgbClr val="FFFFFF"/>
                </a:solidFill>
                <a:latin typeface="Arial"/>
                <a:cs typeface="Arial"/>
              </a:rPr>
              <a:t>Safety profile</a:t>
            </a:r>
            <a:endParaRPr lang="en-US">
              <a:solidFill>
                <a:srgbClr val="FFFFFF"/>
              </a:solidFill>
              <a:cs typeface="Arial"/>
            </a:endParaRPr>
          </a:p>
          <a:p>
            <a:pPr algn="ctr"/>
            <a:r>
              <a:rPr lang="en-US" b="1">
                <a:solidFill>
                  <a:srgbClr val="FFFFFF"/>
                </a:solidFill>
                <a:latin typeface="Arial"/>
                <a:cs typeface="Arial"/>
              </a:rPr>
              <a:t>CLPH-511 is favorable with no red flags in </a:t>
            </a:r>
            <a:r>
              <a:rPr lang="en-US" b="1" i="1">
                <a:solidFill>
                  <a:srgbClr val="FFFFFF"/>
                </a:solidFill>
                <a:latin typeface="Arial"/>
                <a:cs typeface="Arial"/>
              </a:rPr>
              <a:t>a priori </a:t>
            </a:r>
            <a:r>
              <a:rPr lang="en-US" b="1">
                <a:solidFill>
                  <a:srgbClr val="FFFFFF"/>
                </a:solidFill>
                <a:latin typeface="Arial"/>
                <a:cs typeface="Arial"/>
              </a:rPr>
              <a:t>FDA identified areas of risk</a:t>
            </a:r>
            <a:r>
              <a:rPr lang="en-US">
                <a:solidFill>
                  <a:srgbClr val="FFFFFF"/>
                </a:solidFill>
                <a:latin typeface="Arial"/>
                <a:cs typeface="Arial"/>
              </a:rPr>
              <a:t> </a:t>
            </a: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F64B37A-6EFE-7EA7-AFD9-BAACC628E405}"/>
              </a:ext>
            </a:extLst>
          </p:cNvPr>
          <p:cNvSpPr txBox="1"/>
          <p:nvPr/>
        </p:nvSpPr>
        <p:spPr>
          <a:xfrm>
            <a:off x="566351" y="648730"/>
            <a:ext cx="11048999" cy="43088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 baseline="0">
                <a:solidFill>
                  <a:srgbClr val="000000"/>
                </a:solidFill>
                <a:latin typeface="Aptos"/>
              </a:rPr>
              <a:t>Primary Efficacy Endpoint of Non-Inferiority has been met with favorable safety profile</a:t>
            </a:r>
            <a:r>
              <a:rPr sz="1600">
                <a:solidFill>
                  <a:srgbClr val="000000"/>
                </a:solidFill>
                <a:latin typeface="Aptos"/>
                <a:ea typeface="Aptos"/>
                <a:cs typeface="Aptos"/>
              </a:rPr>
              <a:t>​</a:t>
            </a:r>
            <a:endParaRPr lang="en-US" sz="1600">
              <a:solidFill>
                <a:srgbClr val="000000"/>
              </a:solidFill>
            </a:endParaRPr>
          </a:p>
          <a:p>
            <a:pPr algn="l"/>
            <a:endParaRPr lang="en-US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45181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D91852-CD1C-B194-C05A-2E05826E4B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8ED12C5-9D23-1F25-D7C4-65C8839DC153}"/>
              </a:ext>
            </a:extLst>
          </p:cNvPr>
          <p:cNvSpPr txBox="1"/>
          <p:nvPr/>
        </p:nvSpPr>
        <p:spPr>
          <a:xfrm>
            <a:off x="939078" y="4637626"/>
            <a:ext cx="1099859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594" indent="-228594" defTabSz="609585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1600">
                <a:solidFill>
                  <a:srgbClr val="000000"/>
                </a:solidFill>
              </a:rPr>
              <a:t>Supported by the US Army Medical Research and Development Command under Contract No. W81XWH20C0030.</a:t>
            </a:r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7D16D72E-9637-4D8E-77F0-BFC0FC4BAB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3271" y="3918190"/>
            <a:ext cx="10521963" cy="550044"/>
          </a:xfrm>
        </p:spPr>
        <p:txBody>
          <a:bodyPr/>
          <a:lstStyle/>
          <a:p>
            <a:r>
              <a:rPr lang="en-US" sz="2133">
                <a:solidFill>
                  <a:schemeClr val="bg2"/>
                </a:solidFill>
              </a:rPr>
              <a:t>  F</a:t>
            </a:r>
            <a:r>
              <a:rPr lang="en-US" sz="2133" cap="none">
                <a:solidFill>
                  <a:schemeClr val="bg2"/>
                </a:solidFill>
              </a:rPr>
              <a:t>unding</a:t>
            </a:r>
            <a:r>
              <a:rPr lang="en-US" sz="2133">
                <a:solidFill>
                  <a:schemeClr val="bg2"/>
                </a:solidFill>
              </a:rPr>
              <a:t> 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C33D0206-8F76-C1E8-177E-A3936964B8A3}"/>
              </a:ext>
            </a:extLst>
          </p:cNvPr>
          <p:cNvSpPr txBox="1">
            <a:spLocks/>
          </p:cNvSpPr>
          <p:nvPr/>
        </p:nvSpPr>
        <p:spPr>
          <a:xfrm>
            <a:off x="933930" y="1719914"/>
            <a:ext cx="11191540" cy="17721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04792" indent="-304792" defTabSz="1219170">
              <a:spcBef>
                <a:spcPts val="1333"/>
              </a:spcBef>
            </a:pPr>
            <a:r>
              <a:rPr lang="en-US" sz="1600">
                <a:solidFill>
                  <a:srgbClr val="000000"/>
                </a:solidFill>
                <a:latin typeface="Arial"/>
              </a:rPr>
              <a:t>Randomized, blinded non-inferiority Phase 2/3 trial with active control known to reduce bleeding; N=161</a:t>
            </a:r>
          </a:p>
          <a:p>
            <a:pPr marL="304792" indent="-304792" defTabSz="1219170">
              <a:spcBef>
                <a:spcPts val="1333"/>
              </a:spcBef>
            </a:pPr>
            <a:r>
              <a:rPr lang="en-US" sz="1600">
                <a:solidFill>
                  <a:srgbClr val="000000"/>
                </a:solidFill>
                <a:latin typeface="Arial"/>
              </a:rPr>
              <a:t>Clinical setting of acute hemorrhage (reproducible high blood loss clinical scenario associated with thrombocytopenia and platelet dysfunction)</a:t>
            </a:r>
          </a:p>
          <a:p>
            <a:pPr marL="304792" indent="-304792" defTabSz="1219170">
              <a:spcBef>
                <a:spcPts val="1333"/>
              </a:spcBef>
            </a:pPr>
            <a:r>
              <a:rPr lang="en-US" sz="1600">
                <a:solidFill>
                  <a:srgbClr val="000000"/>
                </a:solidFill>
                <a:latin typeface="Arial"/>
              </a:rPr>
              <a:t>Objective endpoint: 24H CTD</a:t>
            </a:r>
          </a:p>
          <a:p>
            <a:pPr marL="304792" indent="-304792" defTabSz="1219170">
              <a:spcBef>
                <a:spcPts val="1333"/>
              </a:spcBef>
            </a:pPr>
            <a:r>
              <a:rPr lang="en-US" sz="1600">
                <a:solidFill>
                  <a:srgbClr val="000000"/>
                </a:solidFill>
                <a:latin typeface="Arial"/>
              </a:rPr>
              <a:t>Populations well matched </a:t>
            </a: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A38CE0DC-A9D5-5356-E27D-20CE582AE216}"/>
              </a:ext>
            </a:extLst>
          </p:cNvPr>
          <p:cNvSpPr txBox="1">
            <a:spLocks/>
          </p:cNvSpPr>
          <p:nvPr/>
        </p:nvSpPr>
        <p:spPr>
          <a:xfrm>
            <a:off x="753272" y="1264567"/>
            <a:ext cx="10521963" cy="45449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35668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>
              <a:spcBef>
                <a:spcPts val="1333"/>
              </a:spcBef>
            </a:pPr>
            <a:r>
              <a:rPr lang="en-US" sz="2133">
                <a:solidFill>
                  <a:srgbClr val="50037F"/>
                </a:solidFill>
                <a:latin typeface="Arial"/>
              </a:rPr>
              <a:t>Study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1EC88C7-D7BE-04E7-1CAB-9F4A0A68AD44}"/>
              </a:ext>
            </a:extLst>
          </p:cNvPr>
          <p:cNvSpPr txBox="1">
            <a:spLocks/>
          </p:cNvSpPr>
          <p:nvPr/>
        </p:nvSpPr>
        <p:spPr>
          <a:xfrm>
            <a:off x="809582" y="503770"/>
            <a:ext cx="10838577" cy="36933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77"/>
            <a:r>
              <a:rPr lang="en-US" sz="2400">
                <a:solidFill>
                  <a:srgbClr val="50037F"/>
                </a:solidFill>
                <a:latin typeface="Arial"/>
              </a:rPr>
              <a:t>Key Takeaway: CLPH-511 is a Potential Alternative to RTPs in Acute Hemorrhage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276E684-7EDC-F32F-9DEB-8DF3598BCB92}"/>
              </a:ext>
            </a:extLst>
          </p:cNvPr>
          <p:cNvSpPr txBox="1">
            <a:spLocks/>
          </p:cNvSpPr>
          <p:nvPr/>
        </p:nvSpPr>
        <p:spPr>
          <a:xfrm>
            <a:off x="6781800" y="6398960"/>
            <a:ext cx="4114800" cy="14362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09585"/>
            <a:r>
              <a:rPr lang="en-US" sz="933">
                <a:solidFill>
                  <a:srgbClr val="545859"/>
                </a:solidFill>
                <a:latin typeface="Arial"/>
              </a:rPr>
              <a:t>© 2025 Cellphire, Inc.   Confidential </a:t>
            </a:r>
          </a:p>
        </p:txBody>
      </p:sp>
    </p:spTree>
    <p:extLst>
      <p:ext uri="{BB962C8B-B14F-4D97-AF65-F5344CB8AC3E}">
        <p14:creationId xmlns:p14="http://schemas.microsoft.com/office/powerpoint/2010/main" val="25397635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Acumin Pro">
      <a:majorFont>
        <a:latin typeface="Acumin Pro Bold"/>
        <a:ea typeface=""/>
        <a:cs typeface=""/>
      </a:majorFont>
      <a:minorFont>
        <a:latin typeface="Acumin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OT Platelet Slides" id="{66B5FE0B-746C-4838-98A2-CE922BD4B598}" vid="{658F719C-9CCA-49BA-8C0A-65CF60F4FF0F}"/>
    </a:ext>
  </a:extLst>
</a:theme>
</file>

<file path=ppt/theme/theme2.xml><?xml version="1.0" encoding="utf-8"?>
<a:theme xmlns:a="http://schemas.openxmlformats.org/drawingml/2006/main" name="1_Office Theme">
  <a:themeElements>
    <a:clrScheme name="Cellphire Office Colors">
      <a:dk1>
        <a:srgbClr val="545859"/>
      </a:dk1>
      <a:lt1>
        <a:sysClr val="window" lastClr="FFFFFF"/>
      </a:lt1>
      <a:dk2>
        <a:srgbClr val="000000"/>
      </a:dk2>
      <a:lt2>
        <a:srgbClr val="50037F"/>
      </a:lt2>
      <a:accent1>
        <a:srgbClr val="8917A6"/>
      </a:accent1>
      <a:accent2>
        <a:srgbClr val="06AEC7"/>
      </a:accent2>
      <a:accent3>
        <a:srgbClr val="9D9187"/>
      </a:accent3>
      <a:accent4>
        <a:srgbClr val="70BF52"/>
      </a:accent4>
      <a:accent5>
        <a:srgbClr val="E8E624"/>
      </a:accent5>
      <a:accent6>
        <a:srgbClr val="AFEFEC"/>
      </a:accent6>
      <a:hlink>
        <a:srgbClr val="0563C1"/>
      </a:hlink>
      <a:folHlink>
        <a:srgbClr val="954F72"/>
      </a:folHlink>
    </a:clrScheme>
    <a:fontScheme name="Cellphire Offic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HT069_CLP19011_PowerPoint Template_20200817_4a.potx" id="{13514D40-E1D0-4621-93B2-4B42ACD886A3}" vid="{5DBA65C0-4977-4382-9EB8-0AC2A2D5D29D}"/>
    </a:ext>
  </a:extLst>
</a:theme>
</file>

<file path=ppt/theme/theme3.xml><?xml version="1.0" encoding="utf-8"?>
<a:theme xmlns:a="http://schemas.openxmlformats.org/drawingml/2006/main" name="Office Theme">
  <a:themeElements>
    <a:clrScheme name="Cellphire Color Palette">
      <a:dk1>
        <a:srgbClr val="545859"/>
      </a:dk1>
      <a:lt1>
        <a:sysClr val="window" lastClr="FFFFFF"/>
      </a:lt1>
      <a:dk2>
        <a:srgbClr val="000000"/>
      </a:dk2>
      <a:lt2>
        <a:srgbClr val="50037F"/>
      </a:lt2>
      <a:accent1>
        <a:srgbClr val="8917A6"/>
      </a:accent1>
      <a:accent2>
        <a:srgbClr val="06AEC7"/>
      </a:accent2>
      <a:accent3>
        <a:srgbClr val="9D9187"/>
      </a:accent3>
      <a:accent4>
        <a:srgbClr val="70BF52"/>
      </a:accent4>
      <a:accent5>
        <a:srgbClr val="E8E624"/>
      </a:accent5>
      <a:accent6>
        <a:srgbClr val="AFEFEC"/>
      </a:accent6>
      <a:hlink>
        <a:srgbClr val="0563C1"/>
      </a:hlink>
      <a:folHlink>
        <a:srgbClr val="954F72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HT069_CLP19011_PowerPoint Template_20200817_4a.potx" id="{13514D40-E1D0-4621-93B2-4B42ACD886A3}" vid="{5DBA65C0-4977-4382-9EB8-0AC2A2D5D29D}"/>
    </a:ext>
  </a:extLst>
</a:theme>
</file>

<file path=ppt/theme/theme4.xml><?xml version="1.0" encoding="utf-8"?>
<a:theme xmlns:a="http://schemas.openxmlformats.org/drawingml/2006/main" name="Office Theme">
  <a:themeElements>
    <a:clrScheme name="Cellphire Office Colors">
      <a:dk1>
        <a:srgbClr val="545859"/>
      </a:dk1>
      <a:lt1>
        <a:sysClr val="window" lastClr="FFFFFF"/>
      </a:lt1>
      <a:dk2>
        <a:srgbClr val="000000"/>
      </a:dk2>
      <a:lt2>
        <a:srgbClr val="50037F"/>
      </a:lt2>
      <a:accent1>
        <a:srgbClr val="8917A6"/>
      </a:accent1>
      <a:accent2>
        <a:srgbClr val="06AEC7"/>
      </a:accent2>
      <a:accent3>
        <a:srgbClr val="9D9187"/>
      </a:accent3>
      <a:accent4>
        <a:srgbClr val="70BF52"/>
      </a:accent4>
      <a:accent5>
        <a:srgbClr val="E8E624"/>
      </a:accent5>
      <a:accent6>
        <a:srgbClr val="AFEFEC"/>
      </a:accent6>
      <a:hlink>
        <a:srgbClr val="0563C1"/>
      </a:hlink>
      <a:folHlink>
        <a:srgbClr val="954F72"/>
      </a:folHlink>
    </a:clrScheme>
    <a:fontScheme name="Cellphire Offic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HT069_CLP19011_PowerPoint Template_20200817_4a.potx" id="{13514D40-E1D0-4621-93B2-4B42ACD886A3}" vid="{5DBA65C0-4977-4382-9EB8-0AC2A2D5D29D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93F74850A86974987BD17ED137103F6" ma:contentTypeVersion="20" ma:contentTypeDescription="Create a new document." ma:contentTypeScope="" ma:versionID="9f4ad4681db88e0275b375d36a6284da">
  <xsd:schema xmlns:xsd="http://www.w3.org/2001/XMLSchema" xmlns:xs="http://www.w3.org/2001/XMLSchema" xmlns:p="http://schemas.microsoft.com/office/2006/metadata/properties" xmlns:ns1="http://schemas.microsoft.com/sharepoint/v3" xmlns:ns2="47f86385-5faa-4594-8ecf-f9ce1cbeefe1" xmlns:ns3="421351a6-a665-477f-9f85-df069f1fe2c7" targetNamespace="http://schemas.microsoft.com/office/2006/metadata/properties" ma:root="true" ma:fieldsID="c810b0f7e468e5976f248f8e7a329626" ns1:_="" ns2:_="" ns3:_="">
    <xsd:import namespace="http://schemas.microsoft.com/sharepoint/v3"/>
    <xsd:import namespace="47f86385-5faa-4594-8ecf-f9ce1cbeefe1"/>
    <xsd:import namespace="421351a6-a665-477f-9f85-df069f1fe2c7"/>
    <xsd:element name="properties">
      <xsd:complexType>
        <xsd:sequence>
          <xsd:element name="documentManagement">
            <xsd:complexType>
              <xsd:all>
                <xsd:element ref="ns2:MigrationWizId" minOccurs="0"/>
                <xsd:element ref="ns2:MigrationWizIdPermissions" minOccurs="0"/>
                <xsd:element ref="ns2:MigrationWizIdPermissionLevels" minOccurs="0"/>
                <xsd:element ref="ns2:MigrationWizIdDocumentLibraryPermissions" minOccurs="0"/>
                <xsd:element ref="ns2:MigrationWizIdSecurityGroups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BillingMetadata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6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7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f86385-5faa-4594-8ecf-f9ce1cbeefe1" elementFormDefault="qualified">
    <xsd:import namespace="http://schemas.microsoft.com/office/2006/documentManagement/types"/>
    <xsd:import namespace="http://schemas.microsoft.com/office/infopath/2007/PartnerControls"/>
    <xsd:element name="MigrationWizId" ma:index="8" nillable="true" ma:displayName="MigrationWizId" ma:internalName="MigrationWizId">
      <xsd:simpleType>
        <xsd:restriction base="dms:Text"/>
      </xsd:simpleType>
    </xsd:element>
    <xsd:element name="MigrationWizIdPermissions" ma:index="9" nillable="true" ma:displayName="MigrationWizIdPermissions" ma:internalName="MigrationWizIdPermissions">
      <xsd:simpleType>
        <xsd:restriction base="dms:Text"/>
      </xsd:simpleType>
    </xsd:element>
    <xsd:element name="MigrationWizIdPermissionLevels" ma:index="10" nillable="true" ma:displayName="MigrationWizIdPermissionLevels" ma:description="Office" ma:internalName="MigrationWizIdPermissionLevels">
      <xsd:simpleType>
        <xsd:restriction base="dms:Text"/>
      </xsd:simpleType>
    </xsd:element>
    <xsd:element name="MigrationWizIdDocumentLibraryPermissions" ma:index="11" nillable="true" ma:displayName="MigrationWizIdDocumentLibraryPermissions" ma:description="Office" ma:internalName="MigrationWizIdDocumentLibraryPermissions">
      <xsd:simpleType>
        <xsd:restriction base="dms:Text"/>
      </xsd:simpleType>
    </xsd:element>
    <xsd:element name="MigrationWizIdSecurityGroups" ma:index="12" nillable="true" ma:displayName="MigrationWizIdSecurityGroups" ma:description="Office" ma:internalName="MigrationWizIdSecurityGroups">
      <xsd:simpleType>
        <xsd:restriction base="dms:Text"/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67fc2be9-b7d4-4faa-9768-1e0dd150f0c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BillingMetadata" ma:index="25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1351a6-a665-477f-9f85-df069f1fe2c7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45ba439-3d40-4577-ab65-4f589cb3ecc9}" ma:internalName="TaxCatchAll" ma:showField="CatchAllData" ma:web="421351a6-a665-477f-9f85-df069f1fe2c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21351a6-a665-477f-9f85-df069f1fe2c7" xsi:nil="true"/>
    <lcf76f155ced4ddcb4097134ff3c332f xmlns="47f86385-5faa-4594-8ecf-f9ce1cbeefe1">
      <Terms xmlns="http://schemas.microsoft.com/office/infopath/2007/PartnerControls"/>
    </lcf76f155ced4ddcb4097134ff3c332f>
    <MigrationWizIdDocumentLibraryPermissions xmlns="47f86385-5faa-4594-8ecf-f9ce1cbeefe1" xsi:nil="true"/>
    <MigrationWizIdPermissions xmlns="47f86385-5faa-4594-8ecf-f9ce1cbeefe1" xsi:nil="true"/>
    <MigrationWizIdSecurityGroups xmlns="47f86385-5faa-4594-8ecf-f9ce1cbeefe1" xsi:nil="true"/>
    <MigrationWizId xmlns="47f86385-5faa-4594-8ecf-f9ce1cbeefe1" xsi:nil="true"/>
    <MigrationWizIdPermissionLevels xmlns="47f86385-5faa-4594-8ecf-f9ce1cbeefe1" xsi:nil="true"/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3E29C720-FAF0-4B3C-92A6-C850030E5784}"/>
</file>

<file path=customXml/itemProps2.xml><?xml version="1.0" encoding="utf-8"?>
<ds:datastoreItem xmlns:ds="http://schemas.openxmlformats.org/officeDocument/2006/customXml" ds:itemID="{CC71C8D1-8FE7-4245-813C-5FEDECF2B0C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B85F55D-02FF-438E-963C-10639926D04C}">
  <ds:schemaRefs>
    <ds:schemaRef ds:uri="247ab120-b5a7-4f6f-acb1-d68e12fde5a2"/>
    <ds:schemaRef ds:uri="33933e29-e19f-4914-8e12-e769580febe4"/>
    <ds:schemaRef ds:uri="421351a6-a665-477f-9f85-df069f1fe2c7"/>
    <ds:schemaRef ds:uri="d2a63357-c8ce-416e-8669-054081fdd97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OT Platelet Slides Template</Template>
  <TotalTime>0</TotalTime>
  <Words>1141</Words>
  <Application>Microsoft Office PowerPoint</Application>
  <PresentationFormat>Widescreen</PresentationFormat>
  <Paragraphs>103</Paragraphs>
  <Slides>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3" baseType="lpstr">
      <vt:lpstr>.AppleSystemUIFont</vt:lpstr>
      <vt:lpstr>Acumin Pro</vt:lpstr>
      <vt:lpstr>Aptos</vt:lpstr>
      <vt:lpstr>Arial</vt:lpstr>
      <vt:lpstr>Arial,Sans-Serif</vt:lpstr>
      <vt:lpstr>Bookman Old Style</vt:lpstr>
      <vt:lpstr>Calibri</vt:lpstr>
      <vt:lpstr>Garamond</vt:lpstr>
      <vt:lpstr>Segoe UI</vt:lpstr>
      <vt:lpstr>Times New Roman</vt:lpstr>
      <vt:lpstr>Wingdings</vt:lpstr>
      <vt:lpstr>Office Theme</vt:lpstr>
      <vt:lpstr>1_Office Theme</vt:lpstr>
      <vt:lpstr>Office Theme</vt:lpstr>
      <vt:lpstr>Office Theme</vt:lpstr>
      <vt:lpstr>think-cell Slide</vt:lpstr>
      <vt:lpstr>Cellphire Therapeutics</vt:lpstr>
      <vt:lpstr>The Critical Challenge: Platelet Shortages &amp; Rationing Impacting Patient Care &amp; Putting Strain on Hospitals</vt:lpstr>
      <vt:lpstr>CLPH-511: Frozen Activated Apheresis Platelets </vt:lpstr>
      <vt:lpstr>Mechanism of Action</vt:lpstr>
      <vt:lpstr>Pivotal Trial – CRYPTICS Phase 2/3 Trial 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alestrini, Lauren</dc:creator>
  <cp:lastModifiedBy>Christina Chase</cp:lastModifiedBy>
  <cp:revision>7</cp:revision>
  <dcterms:created xsi:type="dcterms:W3CDTF">2024-12-13T20:37:58Z</dcterms:created>
  <dcterms:modified xsi:type="dcterms:W3CDTF">2026-02-19T15:44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93F74850A86974987BD17ED137103F6</vt:lpwstr>
  </property>
  <property fmtid="{D5CDD505-2E9C-101B-9397-08002B2CF9AE}" pid="3" name="MediaServiceImageTags">
    <vt:lpwstr/>
  </property>
</Properties>
</file>